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media/image27.jpg" ContentType="image/png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804" r:id="rId1"/>
    <p:sldMasterId id="2147483849" r:id="rId2"/>
    <p:sldMasterId id="2147483872" r:id="rId3"/>
    <p:sldMasterId id="2147483884" r:id="rId4"/>
  </p:sldMasterIdLst>
  <p:notesMasterIdLst>
    <p:notesMasterId r:id="rId32"/>
  </p:notesMasterIdLst>
  <p:handoutMasterIdLst>
    <p:handoutMasterId r:id="rId33"/>
  </p:handoutMasterIdLst>
  <p:sldIdLst>
    <p:sldId id="308" r:id="rId5"/>
    <p:sldId id="377" r:id="rId6"/>
    <p:sldId id="404" r:id="rId7"/>
    <p:sldId id="401" r:id="rId8"/>
    <p:sldId id="413" r:id="rId9"/>
    <p:sldId id="409" r:id="rId10"/>
    <p:sldId id="411" r:id="rId11"/>
    <p:sldId id="410" r:id="rId12"/>
    <p:sldId id="408" r:id="rId13"/>
    <p:sldId id="417" r:id="rId14"/>
    <p:sldId id="416" r:id="rId15"/>
    <p:sldId id="414" r:id="rId16"/>
    <p:sldId id="415" r:id="rId17"/>
    <p:sldId id="421" r:id="rId18"/>
    <p:sldId id="419" r:id="rId19"/>
    <p:sldId id="420" r:id="rId20"/>
    <p:sldId id="407" r:id="rId21"/>
    <p:sldId id="422" r:id="rId22"/>
    <p:sldId id="423" r:id="rId23"/>
    <p:sldId id="425" r:id="rId24"/>
    <p:sldId id="424" r:id="rId25"/>
    <p:sldId id="381" r:id="rId26"/>
    <p:sldId id="412" r:id="rId27"/>
    <p:sldId id="398" r:id="rId28"/>
    <p:sldId id="402" r:id="rId29"/>
    <p:sldId id="403" r:id="rId30"/>
    <p:sldId id="336" r:id="rId31"/>
  </p:sldIdLst>
  <p:sldSz cx="9144000" cy="5143500" type="screen16x9"/>
  <p:notesSz cx="6858000" cy="9144000"/>
  <p:embeddedFontLst>
    <p:embeddedFont>
      <p:font typeface="HP Simplified" panose="020B0604020202020204" charset="0"/>
      <p:regular r:id="rId34"/>
      <p:bold r:id="rId35"/>
      <p:italic r:id="rId36"/>
      <p:boldItalic r:id="rId37"/>
    </p:embeddedFont>
    <p:embeddedFont>
      <p:font typeface="Lucida Grande" panose="020B0604020202020204" charset="0"/>
      <p:regular r:id="rId38"/>
      <p:bold r:id="rId39"/>
      <p:italic r:id="rId40"/>
      <p:boldItalic r:id="rId41"/>
    </p:embeddedFont>
    <p:embeddedFont>
      <p:font typeface="Futura Bk" panose="020B0502020204020303" charset="0"/>
      <p:regular r:id="rId42"/>
      <p:bold r:id="rId43"/>
      <p:italic r:id="rId44"/>
    </p:embeddedFont>
    <p:embeddedFont>
      <p:font typeface="Tahoma" panose="020B0604030504040204" pitchFamily="34" charset="0"/>
      <p:regular r:id="rId45"/>
      <p:bold r:id="rId46"/>
    </p:embeddedFont>
    <p:embeddedFont>
      <p:font typeface="Calibri" panose="020F0502020204030204" pitchFamily="34" charset="0"/>
      <p:regular r:id="rId47"/>
      <p:bold r:id="rId48"/>
      <p:italic r:id="rId49"/>
      <p:boldItalic r:id="rId50"/>
    </p:embeddedFont>
    <p:embeddedFont>
      <p:font typeface="Futura Hv" panose="020B0702020204020204" charset="0"/>
      <p:regular r:id="rId51"/>
    </p:embeddedFont>
  </p:embeddedFontLst>
  <p:custDataLst>
    <p:tags r:id="rId5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0" userDrawn="1">
          <p15:clr>
            <a:srgbClr val="A4A3A4"/>
          </p15:clr>
        </p15:guide>
        <p15:guide id="2" orient="horz" pos="743">
          <p15:clr>
            <a:srgbClr val="A4A3A4"/>
          </p15:clr>
        </p15:guide>
        <p15:guide id="3" orient="horz" pos="893">
          <p15:clr>
            <a:srgbClr val="A4A3A4"/>
          </p15:clr>
        </p15:guide>
        <p15:guide id="4" orient="horz" pos="438">
          <p15:clr>
            <a:srgbClr val="A4A3A4"/>
          </p15:clr>
        </p15:guide>
        <p15:guide id="5" orient="horz" pos="1692" userDrawn="1">
          <p15:clr>
            <a:srgbClr val="A4A3A4"/>
          </p15:clr>
        </p15:guide>
        <p15:guide id="6" orient="horz" pos="2244" userDrawn="1">
          <p15:clr>
            <a:srgbClr val="A4A3A4"/>
          </p15:clr>
        </p15:guide>
        <p15:guide id="7" orient="horz" pos="146">
          <p15:clr>
            <a:srgbClr val="A4A3A4"/>
          </p15:clr>
        </p15:guide>
        <p15:guide id="8" orient="horz" pos="2460" userDrawn="1">
          <p15:clr>
            <a:srgbClr val="A4A3A4"/>
          </p15:clr>
        </p15:guide>
        <p15:guide id="9" pos="1776" userDrawn="1">
          <p15:clr>
            <a:srgbClr val="A4A3A4"/>
          </p15:clr>
        </p15:guide>
        <p15:guide id="10" pos="2736">
          <p15:clr>
            <a:srgbClr val="A4A3A4"/>
          </p15:clr>
        </p15:guide>
        <p15:guide id="11" pos="202">
          <p15:clr>
            <a:srgbClr val="A4A3A4"/>
          </p15:clr>
        </p15:guide>
        <p15:guide id="12" pos="5322">
          <p15:clr>
            <a:srgbClr val="A4A3A4"/>
          </p15:clr>
        </p15:guide>
        <p15:guide id="13" pos="5616" userDrawn="1">
          <p15:clr>
            <a:srgbClr val="A4A3A4"/>
          </p15:clr>
        </p15:guide>
        <p15:guide id="14" pos="2904" userDrawn="1">
          <p15:clr>
            <a:srgbClr val="A4A3A4"/>
          </p15:clr>
        </p15:guide>
        <p15:guide id="15" pos="3555">
          <p15:clr>
            <a:srgbClr val="A4A3A4"/>
          </p15:clr>
        </p15:guide>
        <p15:guide id="16" pos="1965">
          <p15:clr>
            <a:srgbClr val="A4A3A4"/>
          </p15:clr>
        </p15:guide>
        <p15:guide id="17" pos="37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rikh, Bhooshan (Global Analytics)" initials="PB(A" lastIdx="7" clrIdx="0">
    <p:extLst/>
  </p:cmAuthor>
  <p:cmAuthor id="2" name="Jackson, James (Enterprise Marketing)" initials="JJ(M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C1FF"/>
    <a:srgbClr val="01B0FF"/>
    <a:srgbClr val="1098D2"/>
    <a:srgbClr val="00A4EE"/>
    <a:srgbClr val="FFFFFF"/>
    <a:srgbClr val="0D5297"/>
    <a:srgbClr val="FAAF3A"/>
    <a:srgbClr val="F3F3F3"/>
    <a:srgbClr val="87898B"/>
    <a:srgbClr val="DDDE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986" autoAdjust="0"/>
    <p:restoredTop sz="82437" autoAdjust="0"/>
  </p:normalViewPr>
  <p:slideViewPr>
    <p:cSldViewPr snapToGrid="0">
      <p:cViewPr varScale="1">
        <p:scale>
          <a:sx n="76" d="100"/>
          <a:sy n="76" d="100"/>
        </p:scale>
        <p:origin x="516" y="54"/>
      </p:cViewPr>
      <p:guideLst>
        <p:guide orient="horz" pos="2820"/>
        <p:guide orient="horz" pos="743"/>
        <p:guide orient="horz" pos="893"/>
        <p:guide orient="horz" pos="438"/>
        <p:guide orient="horz" pos="1692"/>
        <p:guide orient="horz" pos="2244"/>
        <p:guide orient="horz" pos="146"/>
        <p:guide orient="horz" pos="2460"/>
        <p:guide pos="1776"/>
        <p:guide pos="2736"/>
        <p:guide pos="202"/>
        <p:guide pos="5322"/>
        <p:guide pos="5616"/>
        <p:guide pos="2904"/>
        <p:guide pos="3555"/>
        <p:guide pos="1965"/>
        <p:guide pos="3723"/>
      </p:guideLst>
    </p:cSldViewPr>
  </p:slideViewPr>
  <p:outlineViewPr>
    <p:cViewPr>
      <p:scale>
        <a:sx n="33" d="100"/>
        <a:sy n="33" d="100"/>
      </p:scale>
      <p:origin x="0" y="198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 varScale="1">
        <p:scale>
          <a:sx n="117" d="100"/>
          <a:sy n="117" d="100"/>
        </p:scale>
        <p:origin x="-4024" y="-11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6.fntdata"/><Relationship Id="rId21" Type="http://schemas.openxmlformats.org/officeDocument/2006/relationships/slide" Target="slides/slide17.xml"/><Relationship Id="rId34" Type="http://schemas.openxmlformats.org/officeDocument/2006/relationships/font" Target="fonts/font1.fntdata"/><Relationship Id="rId42" Type="http://schemas.openxmlformats.org/officeDocument/2006/relationships/font" Target="fonts/font9.fntdata"/><Relationship Id="rId47" Type="http://schemas.openxmlformats.org/officeDocument/2006/relationships/font" Target="fonts/font14.fntdata"/><Relationship Id="rId50" Type="http://schemas.openxmlformats.org/officeDocument/2006/relationships/font" Target="fonts/font17.fntdata"/><Relationship Id="rId55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font" Target="fonts/font5.fntdata"/><Relationship Id="rId46" Type="http://schemas.openxmlformats.org/officeDocument/2006/relationships/font" Target="fonts/font13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font" Target="fonts/font8.fntdata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font" Target="fonts/font4.fntdata"/><Relationship Id="rId40" Type="http://schemas.openxmlformats.org/officeDocument/2006/relationships/font" Target="fonts/font7.fntdata"/><Relationship Id="rId45" Type="http://schemas.openxmlformats.org/officeDocument/2006/relationships/font" Target="fonts/font12.fntdata"/><Relationship Id="rId53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font" Target="fonts/font3.fntdata"/><Relationship Id="rId49" Type="http://schemas.openxmlformats.org/officeDocument/2006/relationships/font" Target="fonts/font16.fntdata"/><Relationship Id="rId57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font" Target="fonts/font11.fntdata"/><Relationship Id="rId52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font" Target="fonts/font2.fntdata"/><Relationship Id="rId43" Type="http://schemas.openxmlformats.org/officeDocument/2006/relationships/font" Target="fonts/font10.fntdata"/><Relationship Id="rId48" Type="http://schemas.openxmlformats.org/officeDocument/2006/relationships/font" Target="fonts/font15.fntdata"/><Relationship Id="rId56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openxmlformats.org/officeDocument/2006/relationships/font" Target="fonts/font18.fntdata"/><Relationship Id="rId3" Type="http://schemas.openxmlformats.org/officeDocument/2006/relationships/slideMaster" Target="slideMasters/slideMaster3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png"/><Relationship Id="rId1" Type="http://schemas.openxmlformats.org/officeDocument/2006/relationships/image" Target="../media/image18.png"/></Relationships>
</file>

<file path=ppt/diagrams/_rels/data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image" Target="../media/image21.jpe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png"/><Relationship Id="rId1" Type="http://schemas.openxmlformats.org/officeDocument/2006/relationships/image" Target="../media/image18.png"/></Relationships>
</file>

<file path=ppt/diagrams/_rels/drawing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image" Target="../media/image21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E3152CF-E234-4704-A5FB-A215D5E0D64F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5112FF1-D118-4532-BA12-E2A4C8D34645}">
      <dgm:prSet/>
      <dgm:spPr/>
      <dgm:t>
        <a:bodyPr/>
        <a:lstStyle/>
        <a:p>
          <a:pPr algn="ctr" rtl="0"/>
          <a:r>
            <a:rPr lang="en-US" dirty="0" smtClean="0"/>
            <a:t>Structured and systematic approach of using analytics and feedback to improve the performance of the website</a:t>
          </a:r>
          <a:endParaRPr lang="en-US" dirty="0"/>
        </a:p>
      </dgm:t>
    </dgm:pt>
    <dgm:pt modelId="{CDA6BC98-C30A-42C3-9311-437631FDD4DE}" type="parTrans" cxnId="{1DD79DDF-65C7-4615-936D-B759A2BA7AEE}">
      <dgm:prSet/>
      <dgm:spPr/>
      <dgm:t>
        <a:bodyPr/>
        <a:lstStyle/>
        <a:p>
          <a:endParaRPr lang="en-US"/>
        </a:p>
      </dgm:t>
    </dgm:pt>
    <dgm:pt modelId="{1E87698F-28AD-4C3E-B423-891642934717}" type="sibTrans" cxnId="{1DD79DDF-65C7-4615-936D-B759A2BA7AEE}">
      <dgm:prSet/>
      <dgm:spPr/>
      <dgm:t>
        <a:bodyPr/>
        <a:lstStyle/>
        <a:p>
          <a:endParaRPr lang="en-US"/>
        </a:p>
      </dgm:t>
    </dgm:pt>
    <dgm:pt modelId="{DAAF61FB-9DEE-43EB-9789-C54E24F7EAF2}">
      <dgm:prSet/>
      <dgm:spPr/>
      <dgm:t>
        <a:bodyPr/>
        <a:lstStyle/>
        <a:p>
          <a:pPr algn="ctr" rtl="0"/>
          <a:r>
            <a:rPr lang="en-IN" dirty="0" smtClean="0"/>
            <a:t>Performance of the website can be improved by positive movement in Key Performance Indicators (KPIs) on the site</a:t>
          </a:r>
          <a:endParaRPr lang="en-US" dirty="0"/>
        </a:p>
      </dgm:t>
    </dgm:pt>
    <dgm:pt modelId="{56245AA7-F45C-48B5-83B0-3EEFE4B16E07}" type="parTrans" cxnId="{DBE1B5C1-7BE2-4CC0-941B-5691C8A3A5DA}">
      <dgm:prSet/>
      <dgm:spPr/>
      <dgm:t>
        <a:bodyPr/>
        <a:lstStyle/>
        <a:p>
          <a:endParaRPr lang="en-US"/>
        </a:p>
      </dgm:t>
    </dgm:pt>
    <dgm:pt modelId="{C55CD727-5F3F-4120-BC86-746AF37DC492}" type="sibTrans" cxnId="{DBE1B5C1-7BE2-4CC0-941B-5691C8A3A5DA}">
      <dgm:prSet/>
      <dgm:spPr/>
      <dgm:t>
        <a:bodyPr/>
        <a:lstStyle/>
        <a:p>
          <a:endParaRPr lang="en-US"/>
        </a:p>
      </dgm:t>
    </dgm:pt>
    <dgm:pt modelId="{9C562299-A0D2-415C-A8DB-A44CF117F537}">
      <dgm:prSet/>
      <dgm:spPr/>
      <dgm:t>
        <a:bodyPr/>
        <a:lstStyle/>
        <a:p>
          <a:pPr algn="ctr" rtl="0"/>
          <a:r>
            <a:rPr lang="en-IN" dirty="0" smtClean="0"/>
            <a:t>It can be new customer acquisition , newsletter signups, downloads, registrations etc.</a:t>
          </a:r>
          <a:endParaRPr lang="en-US" dirty="0"/>
        </a:p>
      </dgm:t>
    </dgm:pt>
    <dgm:pt modelId="{099E3466-909C-48C8-B45D-CF3BD991465D}" type="parTrans" cxnId="{FB1EBFDA-5520-47B8-92D3-9C5D6507EC2B}">
      <dgm:prSet/>
      <dgm:spPr/>
      <dgm:t>
        <a:bodyPr/>
        <a:lstStyle/>
        <a:p>
          <a:endParaRPr lang="en-US"/>
        </a:p>
      </dgm:t>
    </dgm:pt>
    <dgm:pt modelId="{639127FC-F6B6-4E26-8299-5645460BEBA7}" type="sibTrans" cxnId="{FB1EBFDA-5520-47B8-92D3-9C5D6507EC2B}">
      <dgm:prSet/>
      <dgm:spPr/>
      <dgm:t>
        <a:bodyPr/>
        <a:lstStyle/>
        <a:p>
          <a:endParaRPr lang="en-US"/>
        </a:p>
      </dgm:t>
    </dgm:pt>
    <dgm:pt modelId="{410A3863-19EB-4DD9-85CF-30BEBD766943}">
      <dgm:prSet/>
      <dgm:spPr/>
      <dgm:t>
        <a:bodyPr/>
        <a:lstStyle/>
        <a:p>
          <a:pPr algn="ctr" rtl="0"/>
          <a:r>
            <a:rPr lang="en-IN" dirty="0" smtClean="0"/>
            <a:t>CRO takes advantage </a:t>
          </a:r>
          <a:r>
            <a:rPr lang="en-IN" dirty="0" smtClean="0"/>
            <a:t>of the traffic that the site is already receiving and driving them to desirable behaviour</a:t>
          </a:r>
          <a:endParaRPr lang="en-US" dirty="0"/>
        </a:p>
      </dgm:t>
    </dgm:pt>
    <dgm:pt modelId="{573CD1F8-8D5C-46E3-82BE-9963AD540C5C}" type="parTrans" cxnId="{093959E1-E25B-48AB-A006-07745CB5DDFD}">
      <dgm:prSet/>
      <dgm:spPr/>
      <dgm:t>
        <a:bodyPr/>
        <a:lstStyle/>
        <a:p>
          <a:endParaRPr lang="en-US"/>
        </a:p>
      </dgm:t>
    </dgm:pt>
    <dgm:pt modelId="{B46EA048-306D-47E0-A92D-AA55714DD782}" type="sibTrans" cxnId="{093959E1-E25B-48AB-A006-07745CB5DDFD}">
      <dgm:prSet/>
      <dgm:spPr/>
      <dgm:t>
        <a:bodyPr/>
        <a:lstStyle/>
        <a:p>
          <a:endParaRPr lang="en-US"/>
        </a:p>
      </dgm:t>
    </dgm:pt>
    <dgm:pt modelId="{D2DA1DCA-48DC-4C94-B2C9-0810FA4C8564}">
      <dgm:prSet/>
      <dgm:spPr/>
      <dgm:t>
        <a:bodyPr/>
        <a:lstStyle/>
        <a:p>
          <a:pPr algn="ctr" rtl="0"/>
          <a:r>
            <a:rPr lang="en-IN" dirty="0" smtClean="0"/>
            <a:t>This results in much better return on investment for the traffic that the site is already receiving</a:t>
          </a:r>
          <a:endParaRPr lang="en-US" dirty="0"/>
        </a:p>
      </dgm:t>
    </dgm:pt>
    <dgm:pt modelId="{3B521E71-4BC8-4EFE-BA7E-FEB849BCD7B8}" type="parTrans" cxnId="{23A5EF5E-265E-4486-81CE-AC81AFE96D15}">
      <dgm:prSet/>
      <dgm:spPr/>
      <dgm:t>
        <a:bodyPr/>
        <a:lstStyle/>
        <a:p>
          <a:endParaRPr lang="en-US"/>
        </a:p>
      </dgm:t>
    </dgm:pt>
    <dgm:pt modelId="{7DBF895D-85D0-47BF-8708-AF1DDD76FCD5}" type="sibTrans" cxnId="{23A5EF5E-265E-4486-81CE-AC81AFE96D15}">
      <dgm:prSet/>
      <dgm:spPr/>
      <dgm:t>
        <a:bodyPr/>
        <a:lstStyle/>
        <a:p>
          <a:endParaRPr lang="en-US"/>
        </a:p>
      </dgm:t>
    </dgm:pt>
    <dgm:pt modelId="{8718699E-BC47-4A49-AE91-7625F3D9C540}">
      <dgm:prSet/>
      <dgm:spPr/>
      <dgm:t>
        <a:bodyPr/>
        <a:lstStyle/>
        <a:p>
          <a:pPr algn="ctr" rtl="0"/>
          <a:r>
            <a:rPr lang="en-IN" dirty="0" smtClean="0"/>
            <a:t>This is a much more cost effective process than finding more visitors</a:t>
          </a:r>
          <a:endParaRPr lang="en-US" dirty="0"/>
        </a:p>
      </dgm:t>
    </dgm:pt>
    <dgm:pt modelId="{6FEAD409-00AE-4EF9-9C9C-E444D23B3461}" type="parTrans" cxnId="{55ECA560-3A6C-4068-9437-D97CE69D6E30}">
      <dgm:prSet/>
      <dgm:spPr/>
      <dgm:t>
        <a:bodyPr/>
        <a:lstStyle/>
        <a:p>
          <a:endParaRPr lang="en-US"/>
        </a:p>
      </dgm:t>
    </dgm:pt>
    <dgm:pt modelId="{A99AFF7C-18C8-4688-93E0-5C7F947A6E0A}" type="sibTrans" cxnId="{55ECA560-3A6C-4068-9437-D97CE69D6E30}">
      <dgm:prSet/>
      <dgm:spPr/>
      <dgm:t>
        <a:bodyPr/>
        <a:lstStyle/>
        <a:p>
          <a:endParaRPr lang="en-US"/>
        </a:p>
      </dgm:t>
    </dgm:pt>
    <dgm:pt modelId="{D8CCF457-85AF-4D89-864D-3A6759E72F18}" type="pres">
      <dgm:prSet presAssocID="{4E3152CF-E234-4704-A5FB-A215D5E0D64F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A816BFD-9913-40CF-848A-D7AF88DAD199}" type="pres">
      <dgm:prSet presAssocID="{A5112FF1-D118-4532-BA12-E2A4C8D34645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B73BF0B-1737-4BC4-945D-3A68C41C345E}" type="pres">
      <dgm:prSet presAssocID="{1E87698F-28AD-4C3E-B423-891642934717}" presName="sibTrans" presStyleLbl="sibTrans2D1" presStyleIdx="0" presStyleCnt="5"/>
      <dgm:spPr/>
      <dgm:t>
        <a:bodyPr/>
        <a:lstStyle/>
        <a:p>
          <a:endParaRPr lang="en-US"/>
        </a:p>
      </dgm:t>
    </dgm:pt>
    <dgm:pt modelId="{471657DD-6E11-4D46-9F2F-3F28519C779F}" type="pres">
      <dgm:prSet presAssocID="{1E87698F-28AD-4C3E-B423-891642934717}" presName="connectorText" presStyleLbl="sibTrans2D1" presStyleIdx="0" presStyleCnt="5"/>
      <dgm:spPr/>
      <dgm:t>
        <a:bodyPr/>
        <a:lstStyle/>
        <a:p>
          <a:endParaRPr lang="en-US"/>
        </a:p>
      </dgm:t>
    </dgm:pt>
    <dgm:pt modelId="{3837DE7D-51D8-4712-9134-AD784AC00CA3}" type="pres">
      <dgm:prSet presAssocID="{DAAF61FB-9DEE-43EB-9789-C54E24F7EAF2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A03733-956C-4A6E-A372-F0012D3ED215}" type="pres">
      <dgm:prSet presAssocID="{C55CD727-5F3F-4120-BC86-746AF37DC492}" presName="sibTrans" presStyleLbl="sibTrans2D1" presStyleIdx="1" presStyleCnt="5"/>
      <dgm:spPr/>
      <dgm:t>
        <a:bodyPr/>
        <a:lstStyle/>
        <a:p>
          <a:endParaRPr lang="en-US"/>
        </a:p>
      </dgm:t>
    </dgm:pt>
    <dgm:pt modelId="{66D34665-FA8D-4F39-A2D8-AC971244069C}" type="pres">
      <dgm:prSet presAssocID="{C55CD727-5F3F-4120-BC86-746AF37DC492}" presName="connectorText" presStyleLbl="sibTrans2D1" presStyleIdx="1" presStyleCnt="5"/>
      <dgm:spPr/>
      <dgm:t>
        <a:bodyPr/>
        <a:lstStyle/>
        <a:p>
          <a:endParaRPr lang="en-US"/>
        </a:p>
      </dgm:t>
    </dgm:pt>
    <dgm:pt modelId="{F8985FCA-90B7-4779-A3C9-7C451DD3A2DF}" type="pres">
      <dgm:prSet presAssocID="{9C562299-A0D2-415C-A8DB-A44CF117F537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56102EE-45EC-43B4-B37C-6E1A655ED477}" type="pres">
      <dgm:prSet presAssocID="{639127FC-F6B6-4E26-8299-5645460BEBA7}" presName="sibTrans" presStyleLbl="sibTrans2D1" presStyleIdx="2" presStyleCnt="5"/>
      <dgm:spPr/>
      <dgm:t>
        <a:bodyPr/>
        <a:lstStyle/>
        <a:p>
          <a:endParaRPr lang="en-US"/>
        </a:p>
      </dgm:t>
    </dgm:pt>
    <dgm:pt modelId="{ABE38920-105C-4FAA-9AEF-BE83141DE14E}" type="pres">
      <dgm:prSet presAssocID="{639127FC-F6B6-4E26-8299-5645460BEBA7}" presName="connectorText" presStyleLbl="sibTrans2D1" presStyleIdx="2" presStyleCnt="5"/>
      <dgm:spPr/>
      <dgm:t>
        <a:bodyPr/>
        <a:lstStyle/>
        <a:p>
          <a:endParaRPr lang="en-US"/>
        </a:p>
      </dgm:t>
    </dgm:pt>
    <dgm:pt modelId="{76A6060A-981D-451B-9BFF-D488FC5150CD}" type="pres">
      <dgm:prSet presAssocID="{410A3863-19EB-4DD9-85CF-30BEBD766943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55E8673-BC90-450C-9F63-C8A1724A6C9B}" type="pres">
      <dgm:prSet presAssocID="{B46EA048-306D-47E0-A92D-AA55714DD782}" presName="sibTrans" presStyleLbl="sibTrans2D1" presStyleIdx="3" presStyleCnt="5"/>
      <dgm:spPr/>
      <dgm:t>
        <a:bodyPr/>
        <a:lstStyle/>
        <a:p>
          <a:endParaRPr lang="en-US"/>
        </a:p>
      </dgm:t>
    </dgm:pt>
    <dgm:pt modelId="{6C1186CA-42B4-4202-BD49-BA63AF82A6B3}" type="pres">
      <dgm:prSet presAssocID="{B46EA048-306D-47E0-A92D-AA55714DD782}" presName="connectorText" presStyleLbl="sibTrans2D1" presStyleIdx="3" presStyleCnt="5"/>
      <dgm:spPr/>
      <dgm:t>
        <a:bodyPr/>
        <a:lstStyle/>
        <a:p>
          <a:endParaRPr lang="en-US"/>
        </a:p>
      </dgm:t>
    </dgm:pt>
    <dgm:pt modelId="{E2AF2712-37F1-48F0-8A13-056733B40551}" type="pres">
      <dgm:prSet presAssocID="{D2DA1DCA-48DC-4C94-B2C9-0810FA4C8564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A2B7C9F-4716-4BB6-96EF-3BE5FFD7A265}" type="pres">
      <dgm:prSet presAssocID="{7DBF895D-85D0-47BF-8708-AF1DDD76FCD5}" presName="sibTrans" presStyleLbl="sibTrans2D1" presStyleIdx="4" presStyleCnt="5"/>
      <dgm:spPr/>
      <dgm:t>
        <a:bodyPr/>
        <a:lstStyle/>
        <a:p>
          <a:endParaRPr lang="en-US"/>
        </a:p>
      </dgm:t>
    </dgm:pt>
    <dgm:pt modelId="{561E73DC-B00A-4C5A-BD16-BD8974BC20D8}" type="pres">
      <dgm:prSet presAssocID="{7DBF895D-85D0-47BF-8708-AF1DDD76FCD5}" presName="connectorText" presStyleLbl="sibTrans2D1" presStyleIdx="4" presStyleCnt="5"/>
      <dgm:spPr/>
      <dgm:t>
        <a:bodyPr/>
        <a:lstStyle/>
        <a:p>
          <a:endParaRPr lang="en-US"/>
        </a:p>
      </dgm:t>
    </dgm:pt>
    <dgm:pt modelId="{B7928D4D-9C6C-4BDA-ADFF-0CB4B48477DB}" type="pres">
      <dgm:prSet presAssocID="{8718699E-BC47-4A49-AE91-7625F3D9C540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DD79DDF-65C7-4615-936D-B759A2BA7AEE}" srcId="{4E3152CF-E234-4704-A5FB-A215D5E0D64F}" destId="{A5112FF1-D118-4532-BA12-E2A4C8D34645}" srcOrd="0" destOrd="0" parTransId="{CDA6BC98-C30A-42C3-9311-437631FDD4DE}" sibTransId="{1E87698F-28AD-4C3E-B423-891642934717}"/>
    <dgm:cxn modelId="{449C25AF-6598-4528-B16C-1A57ACF4B3A9}" type="presOf" srcId="{D2DA1DCA-48DC-4C94-B2C9-0810FA4C8564}" destId="{E2AF2712-37F1-48F0-8A13-056733B40551}" srcOrd="0" destOrd="0" presId="urn:microsoft.com/office/officeart/2005/8/layout/process1"/>
    <dgm:cxn modelId="{C4FD6095-DD3B-40DD-98BF-09FE8440A3D9}" type="presOf" srcId="{B46EA048-306D-47E0-A92D-AA55714DD782}" destId="{6C1186CA-42B4-4202-BD49-BA63AF82A6B3}" srcOrd="1" destOrd="0" presId="urn:microsoft.com/office/officeart/2005/8/layout/process1"/>
    <dgm:cxn modelId="{FB1EBFDA-5520-47B8-92D3-9C5D6507EC2B}" srcId="{4E3152CF-E234-4704-A5FB-A215D5E0D64F}" destId="{9C562299-A0D2-415C-A8DB-A44CF117F537}" srcOrd="2" destOrd="0" parTransId="{099E3466-909C-48C8-B45D-CF3BD991465D}" sibTransId="{639127FC-F6B6-4E26-8299-5645460BEBA7}"/>
    <dgm:cxn modelId="{8B3BF8CA-293A-4171-B284-261B21B694EE}" type="presOf" srcId="{DAAF61FB-9DEE-43EB-9789-C54E24F7EAF2}" destId="{3837DE7D-51D8-4712-9134-AD784AC00CA3}" srcOrd="0" destOrd="0" presId="urn:microsoft.com/office/officeart/2005/8/layout/process1"/>
    <dgm:cxn modelId="{96C63E2F-7474-45BF-B05D-C6DF877B0415}" type="presOf" srcId="{639127FC-F6B6-4E26-8299-5645460BEBA7}" destId="{C56102EE-45EC-43B4-B37C-6E1A655ED477}" srcOrd="0" destOrd="0" presId="urn:microsoft.com/office/officeart/2005/8/layout/process1"/>
    <dgm:cxn modelId="{9DD44866-D81A-45A1-8F3C-3F92FF7129AD}" type="presOf" srcId="{410A3863-19EB-4DD9-85CF-30BEBD766943}" destId="{76A6060A-981D-451B-9BFF-D488FC5150CD}" srcOrd="0" destOrd="0" presId="urn:microsoft.com/office/officeart/2005/8/layout/process1"/>
    <dgm:cxn modelId="{9DE9A8B2-8E34-4502-92FD-8B2D1F34B650}" type="presOf" srcId="{7DBF895D-85D0-47BF-8708-AF1DDD76FCD5}" destId="{561E73DC-B00A-4C5A-BD16-BD8974BC20D8}" srcOrd="1" destOrd="0" presId="urn:microsoft.com/office/officeart/2005/8/layout/process1"/>
    <dgm:cxn modelId="{79554F9B-1A67-484F-8246-592D47CAE859}" type="presOf" srcId="{9C562299-A0D2-415C-A8DB-A44CF117F537}" destId="{F8985FCA-90B7-4779-A3C9-7C451DD3A2DF}" srcOrd="0" destOrd="0" presId="urn:microsoft.com/office/officeart/2005/8/layout/process1"/>
    <dgm:cxn modelId="{B224B9B3-B0A0-4D6F-B5B1-EF780B1B832F}" type="presOf" srcId="{C55CD727-5F3F-4120-BC86-746AF37DC492}" destId="{66D34665-FA8D-4F39-A2D8-AC971244069C}" srcOrd="1" destOrd="0" presId="urn:microsoft.com/office/officeart/2005/8/layout/process1"/>
    <dgm:cxn modelId="{CA62317F-80F9-4E64-9235-E64199BFED1D}" type="presOf" srcId="{B46EA048-306D-47E0-A92D-AA55714DD782}" destId="{F55E8673-BC90-450C-9F63-C8A1724A6C9B}" srcOrd="0" destOrd="0" presId="urn:microsoft.com/office/officeart/2005/8/layout/process1"/>
    <dgm:cxn modelId="{23A5EF5E-265E-4486-81CE-AC81AFE96D15}" srcId="{4E3152CF-E234-4704-A5FB-A215D5E0D64F}" destId="{D2DA1DCA-48DC-4C94-B2C9-0810FA4C8564}" srcOrd="4" destOrd="0" parTransId="{3B521E71-4BC8-4EFE-BA7E-FEB849BCD7B8}" sibTransId="{7DBF895D-85D0-47BF-8708-AF1DDD76FCD5}"/>
    <dgm:cxn modelId="{B055F84D-8A74-4318-8A4F-4FD317817D5F}" type="presOf" srcId="{1E87698F-28AD-4C3E-B423-891642934717}" destId="{471657DD-6E11-4D46-9F2F-3F28519C779F}" srcOrd="1" destOrd="0" presId="urn:microsoft.com/office/officeart/2005/8/layout/process1"/>
    <dgm:cxn modelId="{55ECA560-3A6C-4068-9437-D97CE69D6E30}" srcId="{4E3152CF-E234-4704-A5FB-A215D5E0D64F}" destId="{8718699E-BC47-4A49-AE91-7625F3D9C540}" srcOrd="5" destOrd="0" parTransId="{6FEAD409-00AE-4EF9-9C9C-E444D23B3461}" sibTransId="{A99AFF7C-18C8-4688-93E0-5C7F947A6E0A}"/>
    <dgm:cxn modelId="{70907D66-440B-4ED1-B7A3-A9DE708C96C3}" type="presOf" srcId="{A5112FF1-D118-4532-BA12-E2A4C8D34645}" destId="{BA816BFD-9913-40CF-848A-D7AF88DAD199}" srcOrd="0" destOrd="0" presId="urn:microsoft.com/office/officeart/2005/8/layout/process1"/>
    <dgm:cxn modelId="{DBE1B5C1-7BE2-4CC0-941B-5691C8A3A5DA}" srcId="{4E3152CF-E234-4704-A5FB-A215D5E0D64F}" destId="{DAAF61FB-9DEE-43EB-9789-C54E24F7EAF2}" srcOrd="1" destOrd="0" parTransId="{56245AA7-F45C-48B5-83B0-3EEFE4B16E07}" sibTransId="{C55CD727-5F3F-4120-BC86-746AF37DC492}"/>
    <dgm:cxn modelId="{7ED8CC52-E9FD-466D-9895-1441ADF0DFAB}" type="presOf" srcId="{8718699E-BC47-4A49-AE91-7625F3D9C540}" destId="{B7928D4D-9C6C-4BDA-ADFF-0CB4B48477DB}" srcOrd="0" destOrd="0" presId="urn:microsoft.com/office/officeart/2005/8/layout/process1"/>
    <dgm:cxn modelId="{DCF60E55-A029-46C8-9DB1-0E5CD3129DAE}" type="presOf" srcId="{7DBF895D-85D0-47BF-8708-AF1DDD76FCD5}" destId="{5A2B7C9F-4716-4BB6-96EF-3BE5FFD7A265}" srcOrd="0" destOrd="0" presId="urn:microsoft.com/office/officeart/2005/8/layout/process1"/>
    <dgm:cxn modelId="{A63E2EC2-4612-4B2A-B67B-D9E414283D49}" type="presOf" srcId="{C55CD727-5F3F-4120-BC86-746AF37DC492}" destId="{3BA03733-956C-4A6E-A372-F0012D3ED215}" srcOrd="0" destOrd="0" presId="urn:microsoft.com/office/officeart/2005/8/layout/process1"/>
    <dgm:cxn modelId="{4D4C5482-A2C1-4B3A-AA6F-FD18A412F790}" type="presOf" srcId="{4E3152CF-E234-4704-A5FB-A215D5E0D64F}" destId="{D8CCF457-85AF-4D89-864D-3A6759E72F18}" srcOrd="0" destOrd="0" presId="urn:microsoft.com/office/officeart/2005/8/layout/process1"/>
    <dgm:cxn modelId="{A6028E09-28D5-46FE-A381-4373E425F162}" type="presOf" srcId="{639127FC-F6B6-4E26-8299-5645460BEBA7}" destId="{ABE38920-105C-4FAA-9AEF-BE83141DE14E}" srcOrd="1" destOrd="0" presId="urn:microsoft.com/office/officeart/2005/8/layout/process1"/>
    <dgm:cxn modelId="{093959E1-E25B-48AB-A006-07745CB5DDFD}" srcId="{4E3152CF-E234-4704-A5FB-A215D5E0D64F}" destId="{410A3863-19EB-4DD9-85CF-30BEBD766943}" srcOrd="3" destOrd="0" parTransId="{573CD1F8-8D5C-46E3-82BE-9963AD540C5C}" sibTransId="{B46EA048-306D-47E0-A92D-AA55714DD782}"/>
    <dgm:cxn modelId="{FEA0037F-7973-4AE6-B40D-D71747A7913A}" type="presOf" srcId="{1E87698F-28AD-4C3E-B423-891642934717}" destId="{FB73BF0B-1737-4BC4-945D-3A68C41C345E}" srcOrd="0" destOrd="0" presId="urn:microsoft.com/office/officeart/2005/8/layout/process1"/>
    <dgm:cxn modelId="{63B8E72F-5468-40AB-BECE-9CF9004BBE2C}" type="presParOf" srcId="{D8CCF457-85AF-4D89-864D-3A6759E72F18}" destId="{BA816BFD-9913-40CF-848A-D7AF88DAD199}" srcOrd="0" destOrd="0" presId="urn:microsoft.com/office/officeart/2005/8/layout/process1"/>
    <dgm:cxn modelId="{D2E75E33-C104-4B0C-ADA2-256B1E75BDB9}" type="presParOf" srcId="{D8CCF457-85AF-4D89-864D-3A6759E72F18}" destId="{FB73BF0B-1737-4BC4-945D-3A68C41C345E}" srcOrd="1" destOrd="0" presId="urn:microsoft.com/office/officeart/2005/8/layout/process1"/>
    <dgm:cxn modelId="{748D5257-2BEF-4A03-A142-01FF0A1F29D2}" type="presParOf" srcId="{FB73BF0B-1737-4BC4-945D-3A68C41C345E}" destId="{471657DD-6E11-4D46-9F2F-3F28519C779F}" srcOrd="0" destOrd="0" presId="urn:microsoft.com/office/officeart/2005/8/layout/process1"/>
    <dgm:cxn modelId="{CF51892A-0CCC-4EE7-A2D4-1E8A7A5BB264}" type="presParOf" srcId="{D8CCF457-85AF-4D89-864D-3A6759E72F18}" destId="{3837DE7D-51D8-4712-9134-AD784AC00CA3}" srcOrd="2" destOrd="0" presId="urn:microsoft.com/office/officeart/2005/8/layout/process1"/>
    <dgm:cxn modelId="{6FED3EBE-CBA9-460B-B07B-9E5F74FB321A}" type="presParOf" srcId="{D8CCF457-85AF-4D89-864D-3A6759E72F18}" destId="{3BA03733-956C-4A6E-A372-F0012D3ED215}" srcOrd="3" destOrd="0" presId="urn:microsoft.com/office/officeart/2005/8/layout/process1"/>
    <dgm:cxn modelId="{7501516B-1F96-4299-953E-76CB3A1BBEB0}" type="presParOf" srcId="{3BA03733-956C-4A6E-A372-F0012D3ED215}" destId="{66D34665-FA8D-4F39-A2D8-AC971244069C}" srcOrd="0" destOrd="0" presId="urn:microsoft.com/office/officeart/2005/8/layout/process1"/>
    <dgm:cxn modelId="{1EFC3B76-2BF0-4D94-A11E-0E5BFECB96A6}" type="presParOf" srcId="{D8CCF457-85AF-4D89-864D-3A6759E72F18}" destId="{F8985FCA-90B7-4779-A3C9-7C451DD3A2DF}" srcOrd="4" destOrd="0" presId="urn:microsoft.com/office/officeart/2005/8/layout/process1"/>
    <dgm:cxn modelId="{4CC60657-345A-42A0-9489-A448DC46D329}" type="presParOf" srcId="{D8CCF457-85AF-4D89-864D-3A6759E72F18}" destId="{C56102EE-45EC-43B4-B37C-6E1A655ED477}" srcOrd="5" destOrd="0" presId="urn:microsoft.com/office/officeart/2005/8/layout/process1"/>
    <dgm:cxn modelId="{B156EAF9-2664-47DD-BFEF-E19E2261192F}" type="presParOf" srcId="{C56102EE-45EC-43B4-B37C-6E1A655ED477}" destId="{ABE38920-105C-4FAA-9AEF-BE83141DE14E}" srcOrd="0" destOrd="0" presId="urn:microsoft.com/office/officeart/2005/8/layout/process1"/>
    <dgm:cxn modelId="{A96EF9DA-2FC6-4D69-B614-7E5D6DBFD3D1}" type="presParOf" srcId="{D8CCF457-85AF-4D89-864D-3A6759E72F18}" destId="{76A6060A-981D-451B-9BFF-D488FC5150CD}" srcOrd="6" destOrd="0" presId="urn:microsoft.com/office/officeart/2005/8/layout/process1"/>
    <dgm:cxn modelId="{2AA9C894-9E12-4914-9749-F97C59AD8E95}" type="presParOf" srcId="{D8CCF457-85AF-4D89-864D-3A6759E72F18}" destId="{F55E8673-BC90-450C-9F63-C8A1724A6C9B}" srcOrd="7" destOrd="0" presId="urn:microsoft.com/office/officeart/2005/8/layout/process1"/>
    <dgm:cxn modelId="{C97090A8-CC1B-42EF-9F75-2FC9DB2FD112}" type="presParOf" srcId="{F55E8673-BC90-450C-9F63-C8A1724A6C9B}" destId="{6C1186CA-42B4-4202-BD49-BA63AF82A6B3}" srcOrd="0" destOrd="0" presId="urn:microsoft.com/office/officeart/2005/8/layout/process1"/>
    <dgm:cxn modelId="{CBD7B0E3-F8D7-4D29-A320-CCFE1BB78AE7}" type="presParOf" srcId="{D8CCF457-85AF-4D89-864D-3A6759E72F18}" destId="{E2AF2712-37F1-48F0-8A13-056733B40551}" srcOrd="8" destOrd="0" presId="urn:microsoft.com/office/officeart/2005/8/layout/process1"/>
    <dgm:cxn modelId="{4DA0B14C-D3CD-40AB-8631-773166202D6E}" type="presParOf" srcId="{D8CCF457-85AF-4D89-864D-3A6759E72F18}" destId="{5A2B7C9F-4716-4BB6-96EF-3BE5FFD7A265}" srcOrd="9" destOrd="0" presId="urn:microsoft.com/office/officeart/2005/8/layout/process1"/>
    <dgm:cxn modelId="{44BC5053-C6B6-4861-8A73-FE2F66DEBFB7}" type="presParOf" srcId="{5A2B7C9F-4716-4BB6-96EF-3BE5FFD7A265}" destId="{561E73DC-B00A-4C5A-BD16-BD8974BC20D8}" srcOrd="0" destOrd="0" presId="urn:microsoft.com/office/officeart/2005/8/layout/process1"/>
    <dgm:cxn modelId="{4ECFAA7B-B550-4CA1-A794-77C06F188FBE}" type="presParOf" srcId="{D8CCF457-85AF-4D89-864D-3A6759E72F18}" destId="{B7928D4D-9C6C-4BDA-ADFF-0CB4B48477DB}" srcOrd="1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B084B90-64E9-4F34-87F8-2D52D860D80C}" type="doc">
      <dgm:prSet loTypeId="urn:microsoft.com/office/officeart/2005/8/layout/hList7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0183ECF-D495-4476-8A36-3F748615B25F}">
      <dgm:prSet/>
      <dgm:spPr/>
      <dgm:t>
        <a:bodyPr/>
        <a:lstStyle/>
        <a:p>
          <a:pPr algn="ctr" rtl="0"/>
          <a:r>
            <a:rPr lang="en-US" dirty="0" smtClean="0"/>
            <a:t>      Technology</a:t>
          </a:r>
        </a:p>
        <a:p>
          <a:pPr algn="ctr" rtl="0"/>
          <a:endParaRPr lang="en-US" dirty="0"/>
        </a:p>
      </dgm:t>
    </dgm:pt>
    <dgm:pt modelId="{15B89BEB-4465-4C60-A282-0F6D0A5381DB}" type="parTrans" cxnId="{B5647060-8B33-46FC-8E5E-E9995B6E9641}">
      <dgm:prSet/>
      <dgm:spPr/>
      <dgm:t>
        <a:bodyPr/>
        <a:lstStyle/>
        <a:p>
          <a:endParaRPr lang="en-US"/>
        </a:p>
      </dgm:t>
    </dgm:pt>
    <dgm:pt modelId="{373E1E0D-F579-4FFE-8D10-D81666924F69}" type="sibTrans" cxnId="{B5647060-8B33-46FC-8E5E-E9995B6E9641}">
      <dgm:prSet/>
      <dgm:spPr/>
      <dgm:t>
        <a:bodyPr/>
        <a:lstStyle/>
        <a:p>
          <a:endParaRPr lang="en-US"/>
        </a:p>
      </dgm:t>
    </dgm:pt>
    <dgm:pt modelId="{366DE840-DFEF-4AC6-BE66-B2881D53F3CB}">
      <dgm:prSet/>
      <dgm:spPr/>
      <dgm:t>
        <a:bodyPr/>
        <a:lstStyle/>
        <a:p>
          <a:pPr algn="ctr" rtl="0"/>
          <a:r>
            <a:rPr lang="en-US" dirty="0" smtClean="0"/>
            <a:t>Find the right tool</a:t>
          </a:r>
          <a:endParaRPr lang="en-US" dirty="0"/>
        </a:p>
      </dgm:t>
    </dgm:pt>
    <dgm:pt modelId="{C1F842B0-51AC-41A6-921F-1DBA1983EED3}" type="parTrans" cxnId="{52C98494-65F9-41EE-9409-A81419AF6D86}">
      <dgm:prSet/>
      <dgm:spPr/>
      <dgm:t>
        <a:bodyPr/>
        <a:lstStyle/>
        <a:p>
          <a:endParaRPr lang="en-US"/>
        </a:p>
      </dgm:t>
    </dgm:pt>
    <dgm:pt modelId="{D2DD6DCC-BD00-40F3-B411-0ACF5ADB50C5}" type="sibTrans" cxnId="{52C98494-65F9-41EE-9409-A81419AF6D86}">
      <dgm:prSet/>
      <dgm:spPr/>
      <dgm:t>
        <a:bodyPr/>
        <a:lstStyle/>
        <a:p>
          <a:endParaRPr lang="en-US"/>
        </a:p>
      </dgm:t>
    </dgm:pt>
    <dgm:pt modelId="{0AD2F702-82B8-4DAE-831E-38E7026BA9E8}">
      <dgm:prSet/>
      <dgm:spPr/>
      <dgm:t>
        <a:bodyPr/>
        <a:lstStyle/>
        <a:p>
          <a:pPr algn="ctr" rtl="0"/>
          <a:r>
            <a:rPr lang="en-US" dirty="0" smtClean="0"/>
            <a:t>Most tools are JS based and are browser-side</a:t>
          </a:r>
          <a:endParaRPr lang="en-US" dirty="0"/>
        </a:p>
      </dgm:t>
    </dgm:pt>
    <dgm:pt modelId="{C2B5C168-4646-4F52-89A4-E2BB082686D4}" type="parTrans" cxnId="{24F55CD9-9572-4033-AFD0-6428E586B0A4}">
      <dgm:prSet/>
      <dgm:spPr/>
      <dgm:t>
        <a:bodyPr/>
        <a:lstStyle/>
        <a:p>
          <a:endParaRPr lang="en-US"/>
        </a:p>
      </dgm:t>
    </dgm:pt>
    <dgm:pt modelId="{95ACDB04-259C-4F9D-945D-79FBD29E0421}" type="sibTrans" cxnId="{24F55CD9-9572-4033-AFD0-6428E586B0A4}">
      <dgm:prSet/>
      <dgm:spPr/>
      <dgm:t>
        <a:bodyPr/>
        <a:lstStyle/>
        <a:p>
          <a:endParaRPr lang="en-US"/>
        </a:p>
      </dgm:t>
    </dgm:pt>
    <dgm:pt modelId="{A86AB581-908E-466A-A6E3-CA29DE2F6694}">
      <dgm:prSet/>
      <dgm:spPr/>
      <dgm:t>
        <a:bodyPr/>
        <a:lstStyle/>
        <a:p>
          <a:pPr rtl="0"/>
          <a:r>
            <a:rPr lang="en-US" dirty="0" smtClean="0"/>
            <a:t>People</a:t>
          </a:r>
        </a:p>
        <a:p>
          <a:pPr rtl="0"/>
          <a:endParaRPr lang="en-US" dirty="0"/>
        </a:p>
      </dgm:t>
    </dgm:pt>
    <dgm:pt modelId="{28694686-6C1F-45DF-9053-22B013D6BFEA}" type="parTrans" cxnId="{D1845361-6AB9-4225-9896-D334C48DBB41}">
      <dgm:prSet/>
      <dgm:spPr/>
      <dgm:t>
        <a:bodyPr/>
        <a:lstStyle/>
        <a:p>
          <a:endParaRPr lang="en-US"/>
        </a:p>
      </dgm:t>
    </dgm:pt>
    <dgm:pt modelId="{9631BC3B-F968-4C6B-8971-B16025A194E5}" type="sibTrans" cxnId="{D1845361-6AB9-4225-9896-D334C48DBB41}">
      <dgm:prSet/>
      <dgm:spPr/>
      <dgm:t>
        <a:bodyPr/>
        <a:lstStyle/>
        <a:p>
          <a:endParaRPr lang="en-US"/>
        </a:p>
      </dgm:t>
    </dgm:pt>
    <dgm:pt modelId="{9E3D36AE-EF44-449D-8267-6BC576A73492}">
      <dgm:prSet/>
      <dgm:spPr/>
      <dgm:t>
        <a:bodyPr/>
        <a:lstStyle/>
        <a:p>
          <a:pPr rtl="0"/>
          <a:r>
            <a:rPr lang="en-US" dirty="0" smtClean="0"/>
            <a:t>CRO</a:t>
          </a:r>
          <a:endParaRPr lang="en-US" dirty="0"/>
        </a:p>
      </dgm:t>
    </dgm:pt>
    <dgm:pt modelId="{8A924296-5D4E-4A5D-81D6-2A23185949E5}" type="parTrans" cxnId="{DF0AAB99-D460-44C5-B509-A36C82AFA10C}">
      <dgm:prSet/>
      <dgm:spPr/>
      <dgm:t>
        <a:bodyPr/>
        <a:lstStyle/>
        <a:p>
          <a:endParaRPr lang="en-US"/>
        </a:p>
      </dgm:t>
    </dgm:pt>
    <dgm:pt modelId="{692048D0-7555-4941-9855-86C5CBBA5465}" type="sibTrans" cxnId="{DF0AAB99-D460-44C5-B509-A36C82AFA10C}">
      <dgm:prSet/>
      <dgm:spPr/>
      <dgm:t>
        <a:bodyPr/>
        <a:lstStyle/>
        <a:p>
          <a:endParaRPr lang="en-US"/>
        </a:p>
      </dgm:t>
    </dgm:pt>
    <dgm:pt modelId="{2830563F-E673-46A4-B771-A29CB02CBEE3}">
      <dgm:prSet/>
      <dgm:spPr/>
      <dgm:t>
        <a:bodyPr/>
        <a:lstStyle/>
        <a:p>
          <a:pPr rtl="0"/>
          <a:r>
            <a:rPr lang="en-US" dirty="0" smtClean="0"/>
            <a:t>Design</a:t>
          </a:r>
          <a:endParaRPr lang="en-US" dirty="0"/>
        </a:p>
      </dgm:t>
    </dgm:pt>
    <dgm:pt modelId="{4393867F-29E6-4D53-975B-48E631CAEF71}" type="parTrans" cxnId="{0EF4F3B1-E0B4-43A3-A416-3FB234F20666}">
      <dgm:prSet/>
      <dgm:spPr/>
      <dgm:t>
        <a:bodyPr/>
        <a:lstStyle/>
        <a:p>
          <a:endParaRPr lang="en-US"/>
        </a:p>
      </dgm:t>
    </dgm:pt>
    <dgm:pt modelId="{31CE3B92-F354-414C-A31E-171873E880DC}" type="sibTrans" cxnId="{0EF4F3B1-E0B4-43A3-A416-3FB234F20666}">
      <dgm:prSet/>
      <dgm:spPr/>
      <dgm:t>
        <a:bodyPr/>
        <a:lstStyle/>
        <a:p>
          <a:endParaRPr lang="en-US"/>
        </a:p>
      </dgm:t>
    </dgm:pt>
    <dgm:pt modelId="{3D3A933D-52F5-46A2-BC07-3EA88EFADFD3}">
      <dgm:prSet/>
      <dgm:spPr/>
      <dgm:t>
        <a:bodyPr/>
        <a:lstStyle/>
        <a:p>
          <a:pPr rtl="0"/>
          <a:r>
            <a:rPr lang="en-US" dirty="0" smtClean="0"/>
            <a:t>      Process</a:t>
          </a:r>
        </a:p>
        <a:p>
          <a:pPr rtl="0"/>
          <a:endParaRPr lang="en-US" dirty="0"/>
        </a:p>
      </dgm:t>
    </dgm:pt>
    <dgm:pt modelId="{105B0F1A-D544-4511-A96F-0CC25053149B}" type="parTrans" cxnId="{EE50F9D1-C8B1-4104-8209-31917DFDF94F}">
      <dgm:prSet/>
      <dgm:spPr/>
      <dgm:t>
        <a:bodyPr/>
        <a:lstStyle/>
        <a:p>
          <a:endParaRPr lang="en-US"/>
        </a:p>
      </dgm:t>
    </dgm:pt>
    <dgm:pt modelId="{B09DC429-4568-4010-8BC5-9097E438C546}" type="sibTrans" cxnId="{EE50F9D1-C8B1-4104-8209-31917DFDF94F}">
      <dgm:prSet/>
      <dgm:spPr/>
      <dgm:t>
        <a:bodyPr/>
        <a:lstStyle/>
        <a:p>
          <a:endParaRPr lang="en-US"/>
        </a:p>
      </dgm:t>
    </dgm:pt>
    <dgm:pt modelId="{01AA30B0-C7A2-4C78-B31C-949EABB26FDA}">
      <dgm:prSet/>
      <dgm:spPr/>
      <dgm:t>
        <a:bodyPr/>
        <a:lstStyle/>
        <a:p>
          <a:pPr rtl="0"/>
          <a:r>
            <a:rPr lang="en-US" dirty="0" smtClean="0"/>
            <a:t>Coherent strategy</a:t>
          </a:r>
          <a:endParaRPr lang="en-US" dirty="0"/>
        </a:p>
      </dgm:t>
    </dgm:pt>
    <dgm:pt modelId="{423CFB2D-5E53-44D5-B09F-009D81DA6814}" type="parTrans" cxnId="{480B74BD-4722-4D41-B43A-120F3C21B83F}">
      <dgm:prSet/>
      <dgm:spPr/>
      <dgm:t>
        <a:bodyPr/>
        <a:lstStyle/>
        <a:p>
          <a:endParaRPr lang="en-US"/>
        </a:p>
      </dgm:t>
    </dgm:pt>
    <dgm:pt modelId="{9F2BB45F-FFE2-43D0-A42A-C3076F2BCD17}" type="sibTrans" cxnId="{480B74BD-4722-4D41-B43A-120F3C21B83F}">
      <dgm:prSet/>
      <dgm:spPr/>
      <dgm:t>
        <a:bodyPr/>
        <a:lstStyle/>
        <a:p>
          <a:endParaRPr lang="en-US"/>
        </a:p>
      </dgm:t>
    </dgm:pt>
    <dgm:pt modelId="{4FE9AB0B-E67C-4DBE-8FF5-9B7DBC7212B2}">
      <dgm:prSet/>
      <dgm:spPr/>
      <dgm:t>
        <a:bodyPr/>
        <a:lstStyle/>
        <a:p>
          <a:pPr rtl="0"/>
          <a:r>
            <a:rPr lang="en-US" dirty="0" smtClean="0"/>
            <a:t>Clear tactics / plan</a:t>
          </a:r>
          <a:endParaRPr lang="en-US" dirty="0"/>
        </a:p>
      </dgm:t>
    </dgm:pt>
    <dgm:pt modelId="{D1392CA3-34C3-4480-9B1C-721A0AA2870E}" type="parTrans" cxnId="{D14BCC94-C6E1-4A29-9F81-F32409CD6BF8}">
      <dgm:prSet/>
      <dgm:spPr/>
      <dgm:t>
        <a:bodyPr/>
        <a:lstStyle/>
        <a:p>
          <a:endParaRPr lang="en-US"/>
        </a:p>
      </dgm:t>
    </dgm:pt>
    <dgm:pt modelId="{650CA2CC-DA80-4B1C-A29B-4C25CE379929}" type="sibTrans" cxnId="{D14BCC94-C6E1-4A29-9F81-F32409CD6BF8}">
      <dgm:prSet/>
      <dgm:spPr/>
      <dgm:t>
        <a:bodyPr/>
        <a:lstStyle/>
        <a:p>
          <a:endParaRPr lang="en-US"/>
        </a:p>
      </dgm:t>
    </dgm:pt>
    <dgm:pt modelId="{21374DD0-3A6E-4CDD-A1E8-3B4CAE5FD981}">
      <dgm:prSet/>
      <dgm:spPr/>
      <dgm:t>
        <a:bodyPr/>
        <a:lstStyle/>
        <a:p>
          <a:pPr algn="ctr" rtl="0"/>
          <a:endParaRPr lang="en-US" dirty="0"/>
        </a:p>
      </dgm:t>
    </dgm:pt>
    <dgm:pt modelId="{657659A2-21F6-4E9E-BDDE-997E9F71034F}" type="parTrans" cxnId="{2F0A0B72-1E96-44E5-A9BD-FA1AE1AF289B}">
      <dgm:prSet/>
      <dgm:spPr/>
      <dgm:t>
        <a:bodyPr/>
        <a:lstStyle/>
        <a:p>
          <a:endParaRPr lang="en-US"/>
        </a:p>
      </dgm:t>
    </dgm:pt>
    <dgm:pt modelId="{6D72F320-827B-4527-84BA-E60ADBB27190}" type="sibTrans" cxnId="{2F0A0B72-1E96-44E5-A9BD-FA1AE1AF289B}">
      <dgm:prSet/>
      <dgm:spPr/>
      <dgm:t>
        <a:bodyPr/>
        <a:lstStyle/>
        <a:p>
          <a:endParaRPr lang="en-US"/>
        </a:p>
      </dgm:t>
    </dgm:pt>
    <dgm:pt modelId="{AFB653A7-B5FE-49A0-83B8-87546846165E}">
      <dgm:prSet/>
      <dgm:spPr/>
      <dgm:t>
        <a:bodyPr/>
        <a:lstStyle/>
        <a:p>
          <a:pPr rtl="0"/>
          <a:endParaRPr lang="en-US" dirty="0"/>
        </a:p>
      </dgm:t>
    </dgm:pt>
    <dgm:pt modelId="{1B2F7D3D-B7BD-4CBE-A535-C17C3E97F25F}" type="parTrans" cxnId="{EF8DDC08-47DF-4109-8878-E93B14E7B990}">
      <dgm:prSet/>
      <dgm:spPr/>
      <dgm:t>
        <a:bodyPr/>
        <a:lstStyle/>
        <a:p>
          <a:endParaRPr lang="en-US"/>
        </a:p>
      </dgm:t>
    </dgm:pt>
    <dgm:pt modelId="{306DFAA2-D51E-432D-9C7B-0AF685FBC014}" type="sibTrans" cxnId="{EF8DDC08-47DF-4109-8878-E93B14E7B990}">
      <dgm:prSet/>
      <dgm:spPr/>
      <dgm:t>
        <a:bodyPr/>
        <a:lstStyle/>
        <a:p>
          <a:endParaRPr lang="en-US"/>
        </a:p>
      </dgm:t>
    </dgm:pt>
    <dgm:pt modelId="{77835B63-5077-4F77-B67F-14D0ACD5B6F2}">
      <dgm:prSet/>
      <dgm:spPr/>
      <dgm:t>
        <a:bodyPr/>
        <a:lstStyle/>
        <a:p>
          <a:pPr rtl="0"/>
          <a:endParaRPr lang="en-US" dirty="0"/>
        </a:p>
      </dgm:t>
    </dgm:pt>
    <dgm:pt modelId="{8F464297-949C-49B7-A6C1-BBB48824D4CF}" type="parTrans" cxnId="{D2EBADE3-0773-458A-99BB-026726B4A17C}">
      <dgm:prSet/>
      <dgm:spPr/>
      <dgm:t>
        <a:bodyPr/>
        <a:lstStyle/>
        <a:p>
          <a:endParaRPr lang="en-US"/>
        </a:p>
      </dgm:t>
    </dgm:pt>
    <dgm:pt modelId="{A8B6B364-0BAC-4ADF-9F65-711DDF37CA94}" type="sibTrans" cxnId="{D2EBADE3-0773-458A-99BB-026726B4A17C}">
      <dgm:prSet/>
      <dgm:spPr/>
      <dgm:t>
        <a:bodyPr/>
        <a:lstStyle/>
        <a:p>
          <a:endParaRPr lang="en-US"/>
        </a:p>
      </dgm:t>
    </dgm:pt>
    <dgm:pt modelId="{DB26DE9A-832D-45E0-834F-84C9F5521D20}" type="pres">
      <dgm:prSet presAssocID="{4B084B90-64E9-4F34-87F8-2D52D860D80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42F3040-D302-492D-B8B3-5CB268AE07F2}" type="pres">
      <dgm:prSet presAssocID="{4B084B90-64E9-4F34-87F8-2D52D860D80C}" presName="fgShape" presStyleLbl="fgShp" presStyleIdx="0" presStyleCnt="1" custScaleX="68467"/>
      <dgm:spPr/>
      <dgm:t>
        <a:bodyPr/>
        <a:lstStyle/>
        <a:p>
          <a:endParaRPr lang="en-US"/>
        </a:p>
      </dgm:t>
    </dgm:pt>
    <dgm:pt modelId="{9BA69FE2-9374-41FB-8991-B68A0460DE53}" type="pres">
      <dgm:prSet presAssocID="{4B084B90-64E9-4F34-87F8-2D52D860D80C}" presName="linComp" presStyleCnt="0"/>
      <dgm:spPr/>
      <dgm:t>
        <a:bodyPr/>
        <a:lstStyle/>
        <a:p>
          <a:endParaRPr lang="en-US"/>
        </a:p>
      </dgm:t>
    </dgm:pt>
    <dgm:pt modelId="{D226DE86-EC78-46C8-946E-9ADB5EF1D097}" type="pres">
      <dgm:prSet presAssocID="{C0183ECF-D495-4476-8A36-3F748615B25F}" presName="compNode" presStyleCnt="0"/>
      <dgm:spPr/>
      <dgm:t>
        <a:bodyPr/>
        <a:lstStyle/>
        <a:p>
          <a:endParaRPr lang="en-US"/>
        </a:p>
      </dgm:t>
    </dgm:pt>
    <dgm:pt modelId="{C2CC8E4B-0237-4405-8A5B-AD1B94206C41}" type="pres">
      <dgm:prSet presAssocID="{C0183ECF-D495-4476-8A36-3F748615B25F}" presName="bkgdShape" presStyleLbl="node1" presStyleIdx="0" presStyleCnt="3"/>
      <dgm:spPr/>
      <dgm:t>
        <a:bodyPr/>
        <a:lstStyle/>
        <a:p>
          <a:endParaRPr lang="en-US"/>
        </a:p>
      </dgm:t>
    </dgm:pt>
    <dgm:pt modelId="{26405D10-EE63-4CD9-8528-466B92BCBA8A}" type="pres">
      <dgm:prSet presAssocID="{C0183ECF-D495-4476-8A36-3F748615B25F}" presName="nodeTx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4E2146-978A-439F-BDB7-856A780B2145}" type="pres">
      <dgm:prSet presAssocID="{C0183ECF-D495-4476-8A36-3F748615B25F}" presName="invisiNode" presStyleLbl="node1" presStyleIdx="0" presStyleCnt="3"/>
      <dgm:spPr/>
      <dgm:t>
        <a:bodyPr/>
        <a:lstStyle/>
        <a:p>
          <a:endParaRPr lang="en-US"/>
        </a:p>
      </dgm:t>
    </dgm:pt>
    <dgm:pt modelId="{742D21A5-6E57-4F8C-9544-0CC285911386}" type="pres">
      <dgm:prSet presAssocID="{C0183ECF-D495-4476-8A36-3F748615B25F}" presName="imagNode" presStyleLbl="fgImgPlace1" presStyleIdx="0" presStyleCnt="3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DBAE934C-C8B7-4540-8E59-BD8BCFF05678}" type="pres">
      <dgm:prSet presAssocID="{373E1E0D-F579-4FFE-8D10-D81666924F69}" presName="sibTrans" presStyleLbl="sibTrans2D1" presStyleIdx="0" presStyleCnt="0"/>
      <dgm:spPr/>
      <dgm:t>
        <a:bodyPr/>
        <a:lstStyle/>
        <a:p>
          <a:endParaRPr lang="en-US"/>
        </a:p>
      </dgm:t>
    </dgm:pt>
    <dgm:pt modelId="{2A83B822-B013-492B-89DD-424800794645}" type="pres">
      <dgm:prSet presAssocID="{A86AB581-908E-466A-A6E3-CA29DE2F6694}" presName="compNode" presStyleCnt="0"/>
      <dgm:spPr/>
      <dgm:t>
        <a:bodyPr/>
        <a:lstStyle/>
        <a:p>
          <a:endParaRPr lang="en-US"/>
        </a:p>
      </dgm:t>
    </dgm:pt>
    <dgm:pt modelId="{693667A2-7737-450C-B83F-5F925ED25EDD}" type="pres">
      <dgm:prSet presAssocID="{A86AB581-908E-466A-A6E3-CA29DE2F6694}" presName="bkgdShape" presStyleLbl="node1" presStyleIdx="1" presStyleCnt="3"/>
      <dgm:spPr/>
      <dgm:t>
        <a:bodyPr/>
        <a:lstStyle/>
        <a:p>
          <a:endParaRPr lang="en-US"/>
        </a:p>
      </dgm:t>
    </dgm:pt>
    <dgm:pt modelId="{24B0A617-A1AF-4D75-9A8A-92CF5D0829C8}" type="pres">
      <dgm:prSet presAssocID="{A86AB581-908E-466A-A6E3-CA29DE2F6694}" presName="nodeTx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F6BEE2A-1EA4-4647-A71C-B13A2C9FDD2A}" type="pres">
      <dgm:prSet presAssocID="{A86AB581-908E-466A-A6E3-CA29DE2F6694}" presName="invisiNode" presStyleLbl="node1" presStyleIdx="1" presStyleCnt="3"/>
      <dgm:spPr/>
      <dgm:t>
        <a:bodyPr/>
        <a:lstStyle/>
        <a:p>
          <a:endParaRPr lang="en-US"/>
        </a:p>
      </dgm:t>
    </dgm:pt>
    <dgm:pt modelId="{41E395C6-8B83-435A-9307-AE706817436F}" type="pres">
      <dgm:prSet presAssocID="{A86AB581-908E-466A-A6E3-CA29DE2F6694}" presName="imagNode" presStyleLbl="fgImgPlace1" presStyleIdx="1" presStyleCnt="3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30DF0C9D-ACF8-484D-8E17-1B2CFC823F64}" type="pres">
      <dgm:prSet presAssocID="{9631BC3B-F968-4C6B-8971-B16025A194E5}" presName="sibTrans" presStyleLbl="sibTrans2D1" presStyleIdx="0" presStyleCnt="0"/>
      <dgm:spPr/>
      <dgm:t>
        <a:bodyPr/>
        <a:lstStyle/>
        <a:p>
          <a:endParaRPr lang="en-US"/>
        </a:p>
      </dgm:t>
    </dgm:pt>
    <dgm:pt modelId="{1416B35B-290E-4527-AC85-FEEA3E9551FB}" type="pres">
      <dgm:prSet presAssocID="{3D3A933D-52F5-46A2-BC07-3EA88EFADFD3}" presName="compNode" presStyleCnt="0"/>
      <dgm:spPr/>
      <dgm:t>
        <a:bodyPr/>
        <a:lstStyle/>
        <a:p>
          <a:endParaRPr lang="en-US"/>
        </a:p>
      </dgm:t>
    </dgm:pt>
    <dgm:pt modelId="{F83EB37D-EB54-4275-AF0E-8A01F25664B7}" type="pres">
      <dgm:prSet presAssocID="{3D3A933D-52F5-46A2-BC07-3EA88EFADFD3}" presName="bkgdShape" presStyleLbl="node1" presStyleIdx="2" presStyleCnt="3"/>
      <dgm:spPr/>
      <dgm:t>
        <a:bodyPr/>
        <a:lstStyle/>
        <a:p>
          <a:endParaRPr lang="en-US"/>
        </a:p>
      </dgm:t>
    </dgm:pt>
    <dgm:pt modelId="{5294CA85-C9A5-4DFB-B48B-5E3579FC6346}" type="pres">
      <dgm:prSet presAssocID="{3D3A933D-52F5-46A2-BC07-3EA88EFADFD3}" presName="nodeTx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62C505B-6F03-4138-A4B3-864C16BB6917}" type="pres">
      <dgm:prSet presAssocID="{3D3A933D-52F5-46A2-BC07-3EA88EFADFD3}" presName="invisiNode" presStyleLbl="node1" presStyleIdx="2" presStyleCnt="3"/>
      <dgm:spPr/>
      <dgm:t>
        <a:bodyPr/>
        <a:lstStyle/>
        <a:p>
          <a:endParaRPr lang="en-US"/>
        </a:p>
      </dgm:t>
    </dgm:pt>
    <dgm:pt modelId="{9DA72E8E-909F-48F5-AF82-7E0B52E98707}" type="pres">
      <dgm:prSet presAssocID="{3D3A933D-52F5-46A2-BC07-3EA88EFADFD3}" presName="imagNode" presStyleLbl="fgImgPlace1" presStyleIdx="2" presStyleCnt="3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n-US"/>
        </a:p>
      </dgm:t>
    </dgm:pt>
  </dgm:ptLst>
  <dgm:cxnLst>
    <dgm:cxn modelId="{9DAD0D1C-3791-442F-A7FC-3D868C290773}" type="presOf" srcId="{C0183ECF-D495-4476-8A36-3F748615B25F}" destId="{26405D10-EE63-4CD9-8528-466B92BCBA8A}" srcOrd="1" destOrd="0" presId="urn:microsoft.com/office/officeart/2005/8/layout/hList7"/>
    <dgm:cxn modelId="{24F55CD9-9572-4033-AFD0-6428E586B0A4}" srcId="{C0183ECF-D495-4476-8A36-3F748615B25F}" destId="{0AD2F702-82B8-4DAE-831E-38E7026BA9E8}" srcOrd="2" destOrd="0" parTransId="{C2B5C168-4646-4F52-89A4-E2BB082686D4}" sibTransId="{95ACDB04-259C-4F9D-945D-79FBD29E0421}"/>
    <dgm:cxn modelId="{43880D8C-B2AD-4373-95DC-09AEF8EF2159}" type="presOf" srcId="{AFB653A7-B5FE-49A0-83B8-87546846165E}" destId="{24B0A617-A1AF-4D75-9A8A-92CF5D0829C8}" srcOrd="1" destOrd="2" presId="urn:microsoft.com/office/officeart/2005/8/layout/hList7"/>
    <dgm:cxn modelId="{86EDFCC8-F936-48A4-811A-58BC8025C980}" type="presOf" srcId="{4B084B90-64E9-4F34-87F8-2D52D860D80C}" destId="{DB26DE9A-832D-45E0-834F-84C9F5521D20}" srcOrd="0" destOrd="0" presId="urn:microsoft.com/office/officeart/2005/8/layout/hList7"/>
    <dgm:cxn modelId="{DF0AAB99-D460-44C5-B509-A36C82AFA10C}" srcId="{A86AB581-908E-466A-A6E3-CA29DE2F6694}" destId="{9E3D36AE-EF44-449D-8267-6BC576A73492}" srcOrd="0" destOrd="0" parTransId="{8A924296-5D4E-4A5D-81D6-2A23185949E5}" sibTransId="{692048D0-7555-4941-9855-86C5CBBA5465}"/>
    <dgm:cxn modelId="{DBC4C172-612D-41C1-8DB6-5C75199044FF}" type="presOf" srcId="{9E3D36AE-EF44-449D-8267-6BC576A73492}" destId="{24B0A617-A1AF-4D75-9A8A-92CF5D0829C8}" srcOrd="1" destOrd="1" presId="urn:microsoft.com/office/officeart/2005/8/layout/hList7"/>
    <dgm:cxn modelId="{6CE81054-8256-4CA2-9895-D00EF0268D98}" type="presOf" srcId="{373E1E0D-F579-4FFE-8D10-D81666924F69}" destId="{DBAE934C-C8B7-4540-8E59-BD8BCFF05678}" srcOrd="0" destOrd="0" presId="urn:microsoft.com/office/officeart/2005/8/layout/hList7"/>
    <dgm:cxn modelId="{EF8DDC08-47DF-4109-8878-E93B14E7B990}" srcId="{A86AB581-908E-466A-A6E3-CA29DE2F6694}" destId="{AFB653A7-B5FE-49A0-83B8-87546846165E}" srcOrd="1" destOrd="0" parTransId="{1B2F7D3D-B7BD-4CBE-A535-C17C3E97F25F}" sibTransId="{306DFAA2-D51E-432D-9C7B-0AF685FBC014}"/>
    <dgm:cxn modelId="{72F00EF0-8BD9-4794-A08E-8DA57082CA17}" type="presOf" srcId="{A86AB581-908E-466A-A6E3-CA29DE2F6694}" destId="{24B0A617-A1AF-4D75-9A8A-92CF5D0829C8}" srcOrd="1" destOrd="0" presId="urn:microsoft.com/office/officeart/2005/8/layout/hList7"/>
    <dgm:cxn modelId="{480B74BD-4722-4D41-B43A-120F3C21B83F}" srcId="{3D3A933D-52F5-46A2-BC07-3EA88EFADFD3}" destId="{01AA30B0-C7A2-4C78-B31C-949EABB26FDA}" srcOrd="0" destOrd="0" parTransId="{423CFB2D-5E53-44D5-B09F-009D81DA6814}" sibTransId="{9F2BB45F-FFE2-43D0-A42A-C3076F2BCD17}"/>
    <dgm:cxn modelId="{98F8F863-7D32-4EF5-9505-D4CDD8927FD9}" type="presOf" srcId="{77835B63-5077-4F77-B67F-14D0ACD5B6F2}" destId="{F83EB37D-EB54-4275-AF0E-8A01F25664B7}" srcOrd="0" destOrd="2" presId="urn:microsoft.com/office/officeart/2005/8/layout/hList7"/>
    <dgm:cxn modelId="{0EF4F3B1-E0B4-43A3-A416-3FB234F20666}" srcId="{A86AB581-908E-466A-A6E3-CA29DE2F6694}" destId="{2830563F-E673-46A4-B771-A29CB02CBEE3}" srcOrd="2" destOrd="0" parTransId="{4393867F-29E6-4D53-975B-48E631CAEF71}" sibTransId="{31CE3B92-F354-414C-A31E-171873E880DC}"/>
    <dgm:cxn modelId="{625DD9B8-CF0F-4A25-9B4F-6447355D5F52}" type="presOf" srcId="{9E3D36AE-EF44-449D-8267-6BC576A73492}" destId="{693667A2-7737-450C-B83F-5F925ED25EDD}" srcOrd="0" destOrd="1" presId="urn:microsoft.com/office/officeart/2005/8/layout/hList7"/>
    <dgm:cxn modelId="{B68BB20F-F526-43A5-AAFC-AEDEA862FBA8}" type="presOf" srcId="{366DE840-DFEF-4AC6-BE66-B2881D53F3CB}" destId="{C2CC8E4B-0237-4405-8A5B-AD1B94206C41}" srcOrd="0" destOrd="1" presId="urn:microsoft.com/office/officeart/2005/8/layout/hList7"/>
    <dgm:cxn modelId="{BF373237-EEEF-4BA4-B591-29C18FC1B62D}" type="presOf" srcId="{21374DD0-3A6E-4CDD-A1E8-3B4CAE5FD981}" destId="{26405D10-EE63-4CD9-8528-466B92BCBA8A}" srcOrd="1" destOrd="2" presId="urn:microsoft.com/office/officeart/2005/8/layout/hList7"/>
    <dgm:cxn modelId="{9EF01900-D9B0-4711-B04D-F532328E1096}" type="presOf" srcId="{77835B63-5077-4F77-B67F-14D0ACD5B6F2}" destId="{5294CA85-C9A5-4DFB-B48B-5E3579FC6346}" srcOrd="1" destOrd="2" presId="urn:microsoft.com/office/officeart/2005/8/layout/hList7"/>
    <dgm:cxn modelId="{EE50F9D1-C8B1-4104-8209-31917DFDF94F}" srcId="{4B084B90-64E9-4F34-87F8-2D52D860D80C}" destId="{3D3A933D-52F5-46A2-BC07-3EA88EFADFD3}" srcOrd="2" destOrd="0" parTransId="{105B0F1A-D544-4511-A96F-0CC25053149B}" sibTransId="{B09DC429-4568-4010-8BC5-9097E438C546}"/>
    <dgm:cxn modelId="{72C60605-7599-4031-80AE-96557724B181}" type="presOf" srcId="{0AD2F702-82B8-4DAE-831E-38E7026BA9E8}" destId="{26405D10-EE63-4CD9-8528-466B92BCBA8A}" srcOrd="1" destOrd="3" presId="urn:microsoft.com/office/officeart/2005/8/layout/hList7"/>
    <dgm:cxn modelId="{AC449D0C-516E-4F8D-9508-DA5187C9B3C2}" type="presOf" srcId="{C0183ECF-D495-4476-8A36-3F748615B25F}" destId="{C2CC8E4B-0237-4405-8A5B-AD1B94206C41}" srcOrd="0" destOrd="0" presId="urn:microsoft.com/office/officeart/2005/8/layout/hList7"/>
    <dgm:cxn modelId="{1699F7E9-A9FD-415E-95BB-EE3C571732DE}" type="presOf" srcId="{A86AB581-908E-466A-A6E3-CA29DE2F6694}" destId="{693667A2-7737-450C-B83F-5F925ED25EDD}" srcOrd="0" destOrd="0" presId="urn:microsoft.com/office/officeart/2005/8/layout/hList7"/>
    <dgm:cxn modelId="{2F0A0B72-1E96-44E5-A9BD-FA1AE1AF289B}" srcId="{C0183ECF-D495-4476-8A36-3F748615B25F}" destId="{21374DD0-3A6E-4CDD-A1E8-3B4CAE5FD981}" srcOrd="1" destOrd="0" parTransId="{657659A2-21F6-4E9E-BDDE-997E9F71034F}" sibTransId="{6D72F320-827B-4527-84BA-E60ADBB27190}"/>
    <dgm:cxn modelId="{D1845361-6AB9-4225-9896-D334C48DBB41}" srcId="{4B084B90-64E9-4F34-87F8-2D52D860D80C}" destId="{A86AB581-908E-466A-A6E3-CA29DE2F6694}" srcOrd="1" destOrd="0" parTransId="{28694686-6C1F-45DF-9053-22B013D6BFEA}" sibTransId="{9631BC3B-F968-4C6B-8971-B16025A194E5}"/>
    <dgm:cxn modelId="{D2EBADE3-0773-458A-99BB-026726B4A17C}" srcId="{3D3A933D-52F5-46A2-BC07-3EA88EFADFD3}" destId="{77835B63-5077-4F77-B67F-14D0ACD5B6F2}" srcOrd="1" destOrd="0" parTransId="{8F464297-949C-49B7-A6C1-BBB48824D4CF}" sibTransId="{A8B6B364-0BAC-4ADF-9F65-711DDF37CA94}"/>
    <dgm:cxn modelId="{F15782E9-DF9F-4762-8DCE-114FC90E6771}" type="presOf" srcId="{4FE9AB0B-E67C-4DBE-8FF5-9B7DBC7212B2}" destId="{F83EB37D-EB54-4275-AF0E-8A01F25664B7}" srcOrd="0" destOrd="3" presId="urn:microsoft.com/office/officeart/2005/8/layout/hList7"/>
    <dgm:cxn modelId="{52C98494-65F9-41EE-9409-A81419AF6D86}" srcId="{C0183ECF-D495-4476-8A36-3F748615B25F}" destId="{366DE840-DFEF-4AC6-BE66-B2881D53F3CB}" srcOrd="0" destOrd="0" parTransId="{C1F842B0-51AC-41A6-921F-1DBA1983EED3}" sibTransId="{D2DD6DCC-BD00-40F3-B411-0ACF5ADB50C5}"/>
    <dgm:cxn modelId="{39E11E71-DC74-4E84-B442-AFD5F3151BC0}" type="presOf" srcId="{21374DD0-3A6E-4CDD-A1E8-3B4CAE5FD981}" destId="{C2CC8E4B-0237-4405-8A5B-AD1B94206C41}" srcOrd="0" destOrd="2" presId="urn:microsoft.com/office/officeart/2005/8/layout/hList7"/>
    <dgm:cxn modelId="{24609473-921A-4BC4-A131-C1319A2DC71E}" type="presOf" srcId="{9631BC3B-F968-4C6B-8971-B16025A194E5}" destId="{30DF0C9D-ACF8-484D-8E17-1B2CFC823F64}" srcOrd="0" destOrd="0" presId="urn:microsoft.com/office/officeart/2005/8/layout/hList7"/>
    <dgm:cxn modelId="{E9B289AA-E1EC-46FB-939D-6E5806FB3DD3}" type="presOf" srcId="{01AA30B0-C7A2-4C78-B31C-949EABB26FDA}" destId="{F83EB37D-EB54-4275-AF0E-8A01F25664B7}" srcOrd="0" destOrd="1" presId="urn:microsoft.com/office/officeart/2005/8/layout/hList7"/>
    <dgm:cxn modelId="{446F95F5-B999-43D2-9238-87BCD5058FA0}" type="presOf" srcId="{2830563F-E673-46A4-B771-A29CB02CBEE3}" destId="{693667A2-7737-450C-B83F-5F925ED25EDD}" srcOrd="0" destOrd="3" presId="urn:microsoft.com/office/officeart/2005/8/layout/hList7"/>
    <dgm:cxn modelId="{254AA190-A044-46DF-848D-E026455084A6}" type="presOf" srcId="{3D3A933D-52F5-46A2-BC07-3EA88EFADFD3}" destId="{F83EB37D-EB54-4275-AF0E-8A01F25664B7}" srcOrd="0" destOrd="0" presId="urn:microsoft.com/office/officeart/2005/8/layout/hList7"/>
    <dgm:cxn modelId="{B1BDA2A4-FB68-430A-8832-83F97FD8A134}" type="presOf" srcId="{366DE840-DFEF-4AC6-BE66-B2881D53F3CB}" destId="{26405D10-EE63-4CD9-8528-466B92BCBA8A}" srcOrd="1" destOrd="1" presId="urn:microsoft.com/office/officeart/2005/8/layout/hList7"/>
    <dgm:cxn modelId="{D14BCC94-C6E1-4A29-9F81-F32409CD6BF8}" srcId="{3D3A933D-52F5-46A2-BC07-3EA88EFADFD3}" destId="{4FE9AB0B-E67C-4DBE-8FF5-9B7DBC7212B2}" srcOrd="2" destOrd="0" parTransId="{D1392CA3-34C3-4480-9B1C-721A0AA2870E}" sibTransId="{650CA2CC-DA80-4B1C-A29B-4C25CE379929}"/>
    <dgm:cxn modelId="{3119522A-001B-4A5F-9919-4BCBD015F83D}" type="presOf" srcId="{3D3A933D-52F5-46A2-BC07-3EA88EFADFD3}" destId="{5294CA85-C9A5-4DFB-B48B-5E3579FC6346}" srcOrd="1" destOrd="0" presId="urn:microsoft.com/office/officeart/2005/8/layout/hList7"/>
    <dgm:cxn modelId="{B5647060-8B33-46FC-8E5E-E9995B6E9641}" srcId="{4B084B90-64E9-4F34-87F8-2D52D860D80C}" destId="{C0183ECF-D495-4476-8A36-3F748615B25F}" srcOrd="0" destOrd="0" parTransId="{15B89BEB-4465-4C60-A282-0F6D0A5381DB}" sibTransId="{373E1E0D-F579-4FFE-8D10-D81666924F69}"/>
    <dgm:cxn modelId="{64D7DB22-1A82-4B02-8CA2-D4C082FBC0E8}" type="presOf" srcId="{4FE9AB0B-E67C-4DBE-8FF5-9B7DBC7212B2}" destId="{5294CA85-C9A5-4DFB-B48B-5E3579FC6346}" srcOrd="1" destOrd="3" presId="urn:microsoft.com/office/officeart/2005/8/layout/hList7"/>
    <dgm:cxn modelId="{4CFBCD16-E323-4938-8013-38767FE48021}" type="presOf" srcId="{AFB653A7-B5FE-49A0-83B8-87546846165E}" destId="{693667A2-7737-450C-B83F-5F925ED25EDD}" srcOrd="0" destOrd="2" presId="urn:microsoft.com/office/officeart/2005/8/layout/hList7"/>
    <dgm:cxn modelId="{B4AB803A-8941-4243-BF4E-D09131CADE4E}" type="presOf" srcId="{2830563F-E673-46A4-B771-A29CB02CBEE3}" destId="{24B0A617-A1AF-4D75-9A8A-92CF5D0829C8}" srcOrd="1" destOrd="3" presId="urn:microsoft.com/office/officeart/2005/8/layout/hList7"/>
    <dgm:cxn modelId="{E1880E56-E635-498B-B6F6-437B3F0A9B5E}" type="presOf" srcId="{01AA30B0-C7A2-4C78-B31C-949EABB26FDA}" destId="{5294CA85-C9A5-4DFB-B48B-5E3579FC6346}" srcOrd="1" destOrd="1" presId="urn:microsoft.com/office/officeart/2005/8/layout/hList7"/>
    <dgm:cxn modelId="{DA144749-5966-436B-B811-EE3C623EAB4C}" type="presOf" srcId="{0AD2F702-82B8-4DAE-831E-38E7026BA9E8}" destId="{C2CC8E4B-0237-4405-8A5B-AD1B94206C41}" srcOrd="0" destOrd="3" presId="urn:microsoft.com/office/officeart/2005/8/layout/hList7"/>
    <dgm:cxn modelId="{2AD4F79E-4611-45F3-8E8D-4743DB33835D}" type="presParOf" srcId="{DB26DE9A-832D-45E0-834F-84C9F5521D20}" destId="{042F3040-D302-492D-B8B3-5CB268AE07F2}" srcOrd="0" destOrd="0" presId="urn:microsoft.com/office/officeart/2005/8/layout/hList7"/>
    <dgm:cxn modelId="{84A9ED66-1E9D-4939-97F0-7F75E9E30638}" type="presParOf" srcId="{DB26DE9A-832D-45E0-834F-84C9F5521D20}" destId="{9BA69FE2-9374-41FB-8991-B68A0460DE53}" srcOrd="1" destOrd="0" presId="urn:microsoft.com/office/officeart/2005/8/layout/hList7"/>
    <dgm:cxn modelId="{861192F1-B349-4E8E-82B8-EEBD54C9B87E}" type="presParOf" srcId="{9BA69FE2-9374-41FB-8991-B68A0460DE53}" destId="{D226DE86-EC78-46C8-946E-9ADB5EF1D097}" srcOrd="0" destOrd="0" presId="urn:microsoft.com/office/officeart/2005/8/layout/hList7"/>
    <dgm:cxn modelId="{00E7659D-7FC3-4CCB-B1CA-D9E9A0974BDF}" type="presParOf" srcId="{D226DE86-EC78-46C8-946E-9ADB5EF1D097}" destId="{C2CC8E4B-0237-4405-8A5B-AD1B94206C41}" srcOrd="0" destOrd="0" presId="urn:microsoft.com/office/officeart/2005/8/layout/hList7"/>
    <dgm:cxn modelId="{0C56973E-720A-4DDD-A3EE-FF3BD2E3BFC0}" type="presParOf" srcId="{D226DE86-EC78-46C8-946E-9ADB5EF1D097}" destId="{26405D10-EE63-4CD9-8528-466B92BCBA8A}" srcOrd="1" destOrd="0" presId="urn:microsoft.com/office/officeart/2005/8/layout/hList7"/>
    <dgm:cxn modelId="{492FDD9A-01D9-4E45-A94B-296FF3E23973}" type="presParOf" srcId="{D226DE86-EC78-46C8-946E-9ADB5EF1D097}" destId="{5D4E2146-978A-439F-BDB7-856A780B2145}" srcOrd="2" destOrd="0" presId="urn:microsoft.com/office/officeart/2005/8/layout/hList7"/>
    <dgm:cxn modelId="{3EBDA411-471A-4007-8232-15981B7D7E85}" type="presParOf" srcId="{D226DE86-EC78-46C8-946E-9ADB5EF1D097}" destId="{742D21A5-6E57-4F8C-9544-0CC285911386}" srcOrd="3" destOrd="0" presId="urn:microsoft.com/office/officeart/2005/8/layout/hList7"/>
    <dgm:cxn modelId="{032858C7-1C47-4A6E-9D78-7A51DB8AA0C6}" type="presParOf" srcId="{9BA69FE2-9374-41FB-8991-B68A0460DE53}" destId="{DBAE934C-C8B7-4540-8E59-BD8BCFF05678}" srcOrd="1" destOrd="0" presId="urn:microsoft.com/office/officeart/2005/8/layout/hList7"/>
    <dgm:cxn modelId="{EF1B9C22-0E32-45BB-A662-19DAB90DCA2C}" type="presParOf" srcId="{9BA69FE2-9374-41FB-8991-B68A0460DE53}" destId="{2A83B822-B013-492B-89DD-424800794645}" srcOrd="2" destOrd="0" presId="urn:microsoft.com/office/officeart/2005/8/layout/hList7"/>
    <dgm:cxn modelId="{A2FB55D9-C9C5-49E8-A3A8-F9D6F1120326}" type="presParOf" srcId="{2A83B822-B013-492B-89DD-424800794645}" destId="{693667A2-7737-450C-B83F-5F925ED25EDD}" srcOrd="0" destOrd="0" presId="urn:microsoft.com/office/officeart/2005/8/layout/hList7"/>
    <dgm:cxn modelId="{D94C03CB-A8BA-4DE1-BC60-DAFA38AB69A7}" type="presParOf" srcId="{2A83B822-B013-492B-89DD-424800794645}" destId="{24B0A617-A1AF-4D75-9A8A-92CF5D0829C8}" srcOrd="1" destOrd="0" presId="urn:microsoft.com/office/officeart/2005/8/layout/hList7"/>
    <dgm:cxn modelId="{8FB8D31B-B484-47E1-87AD-3DA83FAA3892}" type="presParOf" srcId="{2A83B822-B013-492B-89DD-424800794645}" destId="{5F6BEE2A-1EA4-4647-A71C-B13A2C9FDD2A}" srcOrd="2" destOrd="0" presId="urn:microsoft.com/office/officeart/2005/8/layout/hList7"/>
    <dgm:cxn modelId="{1E04D526-3A44-410F-BD5D-B62122F8C676}" type="presParOf" srcId="{2A83B822-B013-492B-89DD-424800794645}" destId="{41E395C6-8B83-435A-9307-AE706817436F}" srcOrd="3" destOrd="0" presId="urn:microsoft.com/office/officeart/2005/8/layout/hList7"/>
    <dgm:cxn modelId="{01AC7E43-15AA-4163-81CB-4D6960C40389}" type="presParOf" srcId="{9BA69FE2-9374-41FB-8991-B68A0460DE53}" destId="{30DF0C9D-ACF8-484D-8E17-1B2CFC823F64}" srcOrd="3" destOrd="0" presId="urn:microsoft.com/office/officeart/2005/8/layout/hList7"/>
    <dgm:cxn modelId="{07A1DDC3-EB19-455B-9640-B5AFC9FF10EE}" type="presParOf" srcId="{9BA69FE2-9374-41FB-8991-B68A0460DE53}" destId="{1416B35B-290E-4527-AC85-FEEA3E9551FB}" srcOrd="4" destOrd="0" presId="urn:microsoft.com/office/officeart/2005/8/layout/hList7"/>
    <dgm:cxn modelId="{DEA719BC-53FF-4D59-B95B-9258D5C845A2}" type="presParOf" srcId="{1416B35B-290E-4527-AC85-FEEA3E9551FB}" destId="{F83EB37D-EB54-4275-AF0E-8A01F25664B7}" srcOrd="0" destOrd="0" presId="urn:microsoft.com/office/officeart/2005/8/layout/hList7"/>
    <dgm:cxn modelId="{DD2EA477-6CE9-49FD-9C57-587D88376677}" type="presParOf" srcId="{1416B35B-290E-4527-AC85-FEEA3E9551FB}" destId="{5294CA85-C9A5-4DFB-B48B-5E3579FC6346}" srcOrd="1" destOrd="0" presId="urn:microsoft.com/office/officeart/2005/8/layout/hList7"/>
    <dgm:cxn modelId="{CCC2C3E0-4458-4F6A-BCDC-BD9144E9B146}" type="presParOf" srcId="{1416B35B-290E-4527-AC85-FEEA3E9551FB}" destId="{A62C505B-6F03-4138-A4B3-864C16BB6917}" srcOrd="2" destOrd="0" presId="urn:microsoft.com/office/officeart/2005/8/layout/hList7"/>
    <dgm:cxn modelId="{50D08114-8F90-47CF-A5E5-6DD707527622}" type="presParOf" srcId="{1416B35B-290E-4527-AC85-FEEA3E9551FB}" destId="{9DA72E8E-909F-48F5-AF82-7E0B52E98707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D6EB894-9451-40F0-AD9E-F46884F70D00}" type="doc">
      <dgm:prSet loTypeId="urn:microsoft.com/office/officeart/2005/8/layout/b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C6FBFE6-284C-4A87-AC7D-D6455392E474}">
      <dgm:prSet custT="1"/>
      <dgm:spPr/>
      <dgm:t>
        <a:bodyPr/>
        <a:lstStyle/>
        <a:p>
          <a:pPr rtl="0"/>
          <a:r>
            <a:rPr lang="en-US" sz="4000" dirty="0" smtClean="0"/>
            <a:t>Services </a:t>
          </a:r>
          <a:endParaRPr lang="en-US" sz="4000" dirty="0"/>
        </a:p>
      </dgm:t>
    </dgm:pt>
    <dgm:pt modelId="{64E2CFA5-2C8D-4552-A6FC-8658DE360CFC}" type="parTrans" cxnId="{434AE9E4-28B9-43E1-A22A-BDB91F8F362B}">
      <dgm:prSet/>
      <dgm:spPr/>
      <dgm:t>
        <a:bodyPr/>
        <a:lstStyle/>
        <a:p>
          <a:endParaRPr lang="en-US"/>
        </a:p>
      </dgm:t>
    </dgm:pt>
    <dgm:pt modelId="{A8A454FA-F690-4457-ABCE-9CB89D06C92A}" type="sibTrans" cxnId="{434AE9E4-28B9-43E1-A22A-BDB91F8F362B}">
      <dgm:prSet/>
      <dgm:spPr/>
      <dgm:t>
        <a:bodyPr/>
        <a:lstStyle/>
        <a:p>
          <a:endParaRPr lang="en-US"/>
        </a:p>
      </dgm:t>
    </dgm:pt>
    <dgm:pt modelId="{0C996419-9549-4B81-A595-C32D4B85CC58}">
      <dgm:prSet custT="1"/>
      <dgm:spPr/>
      <dgm:t>
        <a:bodyPr/>
        <a:lstStyle/>
        <a:p>
          <a:pPr rtl="0"/>
          <a:r>
            <a:rPr lang="en-US" sz="2800" dirty="0" smtClean="0"/>
            <a:t>professional CRO (conversion rate optimization) expert consulting</a:t>
          </a:r>
          <a:endParaRPr lang="en-US" sz="2800" dirty="0"/>
        </a:p>
      </dgm:t>
    </dgm:pt>
    <dgm:pt modelId="{8579E0BD-E3D7-4F05-AB4D-0BE3A0817039}" type="parTrans" cxnId="{00CDB57A-076E-4DE4-982A-3467DFCCE948}">
      <dgm:prSet/>
      <dgm:spPr/>
      <dgm:t>
        <a:bodyPr/>
        <a:lstStyle/>
        <a:p>
          <a:endParaRPr lang="en-US"/>
        </a:p>
      </dgm:t>
    </dgm:pt>
    <dgm:pt modelId="{F43A72E8-1D47-4A05-91E3-D5B47E904593}" type="sibTrans" cxnId="{00CDB57A-076E-4DE4-982A-3467DFCCE948}">
      <dgm:prSet/>
      <dgm:spPr/>
      <dgm:t>
        <a:bodyPr/>
        <a:lstStyle/>
        <a:p>
          <a:endParaRPr lang="en-US"/>
        </a:p>
      </dgm:t>
    </dgm:pt>
    <dgm:pt modelId="{5A308953-A2E3-4775-8E36-2316E3EC9967}">
      <dgm:prSet custT="1"/>
      <dgm:spPr/>
      <dgm:t>
        <a:bodyPr/>
        <a:lstStyle/>
        <a:p>
          <a:pPr rtl="0"/>
          <a:r>
            <a:rPr lang="en-US" sz="4000" u="none" dirty="0" smtClean="0"/>
            <a:t>Tools</a:t>
          </a:r>
          <a:endParaRPr lang="en-US" sz="4000" u="none" dirty="0"/>
        </a:p>
      </dgm:t>
    </dgm:pt>
    <dgm:pt modelId="{08D9D3A0-7F37-4065-BD7A-935865C2E28F}" type="parTrans" cxnId="{CBBEE84B-8F0E-4259-BA67-A503979645EB}">
      <dgm:prSet/>
      <dgm:spPr/>
      <dgm:t>
        <a:bodyPr/>
        <a:lstStyle/>
        <a:p>
          <a:endParaRPr lang="en-US"/>
        </a:p>
      </dgm:t>
    </dgm:pt>
    <dgm:pt modelId="{1D8B16B2-2A5F-4F97-B133-74C7313E3734}" type="sibTrans" cxnId="{CBBEE84B-8F0E-4259-BA67-A503979645EB}">
      <dgm:prSet/>
      <dgm:spPr/>
      <dgm:t>
        <a:bodyPr/>
        <a:lstStyle/>
        <a:p>
          <a:endParaRPr lang="en-US"/>
        </a:p>
      </dgm:t>
    </dgm:pt>
    <dgm:pt modelId="{8C5D4B0A-574A-434C-9209-8C06EB9ADEDE}">
      <dgm:prSet custT="1"/>
      <dgm:spPr/>
      <dgm:t>
        <a:bodyPr/>
        <a:lstStyle/>
        <a:p>
          <a:pPr rtl="0"/>
          <a:r>
            <a:rPr lang="en-US" sz="2800" smtClean="0"/>
            <a:t>Optimize</a:t>
          </a:r>
          <a:endParaRPr lang="en-US" sz="2800"/>
        </a:p>
      </dgm:t>
    </dgm:pt>
    <dgm:pt modelId="{545A4513-EEEF-49E1-BA7B-0585177A0C66}" type="parTrans" cxnId="{BDC1AC88-0E24-427A-BA47-2680251728A8}">
      <dgm:prSet/>
      <dgm:spPr/>
      <dgm:t>
        <a:bodyPr/>
        <a:lstStyle/>
        <a:p>
          <a:endParaRPr lang="en-US"/>
        </a:p>
      </dgm:t>
    </dgm:pt>
    <dgm:pt modelId="{3608A201-46EA-4D03-A09B-EBC75E7F74E0}" type="sibTrans" cxnId="{BDC1AC88-0E24-427A-BA47-2680251728A8}">
      <dgm:prSet/>
      <dgm:spPr/>
      <dgm:t>
        <a:bodyPr/>
        <a:lstStyle/>
        <a:p>
          <a:endParaRPr lang="en-US"/>
        </a:p>
      </dgm:t>
    </dgm:pt>
    <dgm:pt modelId="{149D5D22-20B3-4E05-9C39-8D46FB5C1DD2}">
      <dgm:prSet custT="1"/>
      <dgm:spPr/>
      <dgm:t>
        <a:bodyPr/>
        <a:lstStyle/>
        <a:p>
          <a:pPr rtl="0"/>
          <a:r>
            <a:rPr lang="en-US" sz="2800" smtClean="0"/>
            <a:t>Maximizer</a:t>
          </a:r>
          <a:endParaRPr lang="en-US" sz="2800"/>
        </a:p>
      </dgm:t>
    </dgm:pt>
    <dgm:pt modelId="{6DC147C4-EBF0-40FD-8F92-60939DDFAC3A}" type="parTrans" cxnId="{819F47DA-AEE3-4474-A645-FC16D40E78C8}">
      <dgm:prSet/>
      <dgm:spPr/>
      <dgm:t>
        <a:bodyPr/>
        <a:lstStyle/>
        <a:p>
          <a:endParaRPr lang="en-US"/>
        </a:p>
      </dgm:t>
    </dgm:pt>
    <dgm:pt modelId="{0CF35FC5-30C7-424C-B60F-78282B8065FD}" type="sibTrans" cxnId="{819F47DA-AEE3-4474-A645-FC16D40E78C8}">
      <dgm:prSet/>
      <dgm:spPr/>
      <dgm:t>
        <a:bodyPr/>
        <a:lstStyle/>
        <a:p>
          <a:endParaRPr lang="en-US"/>
        </a:p>
      </dgm:t>
    </dgm:pt>
    <dgm:pt modelId="{631A2CE0-7E42-4D85-B2C2-A6F8EEE9DBAA}">
      <dgm:prSet custT="1"/>
      <dgm:spPr/>
      <dgm:t>
        <a:bodyPr/>
        <a:lstStyle/>
        <a:p>
          <a:pPr rtl="0"/>
          <a:r>
            <a:rPr lang="en-US" sz="2800" dirty="0" smtClean="0"/>
            <a:t>Test and target</a:t>
          </a:r>
          <a:endParaRPr lang="en-US" sz="2800" dirty="0"/>
        </a:p>
      </dgm:t>
    </dgm:pt>
    <dgm:pt modelId="{BD8765ED-A7A6-4F41-9343-228D7FDB7C10}" type="parTrans" cxnId="{CA8583F1-4D0C-4C6E-9043-1ED2E8F3A8B2}">
      <dgm:prSet/>
      <dgm:spPr/>
      <dgm:t>
        <a:bodyPr/>
        <a:lstStyle/>
        <a:p>
          <a:endParaRPr lang="en-US"/>
        </a:p>
      </dgm:t>
    </dgm:pt>
    <dgm:pt modelId="{A6647EFE-14BA-4D58-8C9B-6C0B3DDFF09B}" type="sibTrans" cxnId="{CA8583F1-4D0C-4C6E-9043-1ED2E8F3A8B2}">
      <dgm:prSet/>
      <dgm:spPr/>
      <dgm:t>
        <a:bodyPr/>
        <a:lstStyle/>
        <a:p>
          <a:endParaRPr lang="en-US"/>
        </a:p>
      </dgm:t>
    </dgm:pt>
    <dgm:pt modelId="{AA58C146-C09D-4FFA-B598-DFB3A06A7510}">
      <dgm:prSet custT="1"/>
      <dgm:spPr/>
      <dgm:t>
        <a:bodyPr/>
        <a:lstStyle/>
        <a:p>
          <a:pPr rtl="0"/>
          <a:r>
            <a:rPr lang="en-US" sz="2800" dirty="0" smtClean="0"/>
            <a:t>VWO</a:t>
          </a:r>
          <a:endParaRPr lang="en-US" sz="2800" dirty="0"/>
        </a:p>
      </dgm:t>
    </dgm:pt>
    <dgm:pt modelId="{88EEB920-119A-4A29-8DA5-03856AD28B15}" type="parTrans" cxnId="{FCCE3E1E-D625-43A2-91CC-01266C4FCF98}">
      <dgm:prSet/>
      <dgm:spPr/>
      <dgm:t>
        <a:bodyPr/>
        <a:lstStyle/>
        <a:p>
          <a:endParaRPr lang="en-US"/>
        </a:p>
      </dgm:t>
    </dgm:pt>
    <dgm:pt modelId="{140164D2-7CA2-4804-99EF-C3B0448E1E9D}" type="sibTrans" cxnId="{FCCE3E1E-D625-43A2-91CC-01266C4FCF98}">
      <dgm:prSet/>
      <dgm:spPr/>
      <dgm:t>
        <a:bodyPr/>
        <a:lstStyle/>
        <a:p>
          <a:endParaRPr lang="en-US"/>
        </a:p>
      </dgm:t>
    </dgm:pt>
    <dgm:pt modelId="{F7FE98E6-48FB-4E27-BC17-5F98A8A576B5}" type="pres">
      <dgm:prSet presAssocID="{4D6EB894-9451-40F0-AD9E-F46884F70D00}" presName="diagram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E1F9C15-DF3B-424A-9864-4C8718F0BE71}" type="pres">
      <dgm:prSet presAssocID="{6C6FBFE6-284C-4A87-AC7D-D6455392E474}" presName="compNode" presStyleCnt="0"/>
      <dgm:spPr/>
    </dgm:pt>
    <dgm:pt modelId="{445FE864-91D1-4BB2-B9BE-A8CC50F96578}" type="pres">
      <dgm:prSet presAssocID="{6C6FBFE6-284C-4A87-AC7D-D6455392E474}" presName="childRect" presStyleLbl="bgAcc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60A4E91-E8E0-4542-9DA6-D6F0E10DAEF0}" type="pres">
      <dgm:prSet presAssocID="{6C6FBFE6-284C-4A87-AC7D-D6455392E474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69669DF-3902-4787-A68D-68488F6891D6}" type="pres">
      <dgm:prSet presAssocID="{6C6FBFE6-284C-4A87-AC7D-D6455392E474}" presName="parentRect" presStyleLbl="alignNode1" presStyleIdx="0" presStyleCnt="2"/>
      <dgm:spPr/>
      <dgm:t>
        <a:bodyPr/>
        <a:lstStyle/>
        <a:p>
          <a:endParaRPr lang="en-US"/>
        </a:p>
      </dgm:t>
    </dgm:pt>
    <dgm:pt modelId="{BFE4FCA4-3004-4C5B-84EE-CA4F0D9A4AFF}" type="pres">
      <dgm:prSet presAssocID="{6C6FBFE6-284C-4A87-AC7D-D6455392E474}" presName="adorn" presStyleLbl="fgAccFollowNode1" presStyleIdx="0" presStyleCnt="2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4E7F77D3-8CB3-4855-B334-2187BCFD491E}" type="pres">
      <dgm:prSet presAssocID="{A8A454FA-F690-4457-ABCE-9CB89D06C92A}" presName="sibTrans" presStyleLbl="sibTrans2D1" presStyleIdx="0" presStyleCnt="0"/>
      <dgm:spPr/>
      <dgm:t>
        <a:bodyPr/>
        <a:lstStyle/>
        <a:p>
          <a:endParaRPr lang="en-US"/>
        </a:p>
      </dgm:t>
    </dgm:pt>
    <dgm:pt modelId="{EC694CD0-BA1E-4800-A2C3-7192186AB451}" type="pres">
      <dgm:prSet presAssocID="{5A308953-A2E3-4775-8E36-2316E3EC9967}" presName="compNode" presStyleCnt="0"/>
      <dgm:spPr/>
    </dgm:pt>
    <dgm:pt modelId="{32CF0F19-CF0E-48CD-AE1C-60A28CC84BC2}" type="pres">
      <dgm:prSet presAssocID="{5A308953-A2E3-4775-8E36-2316E3EC9967}" presName="childRect" presStyleLbl="bgAcc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182A0BB-3ABE-4242-9477-1A49D3803EEF}" type="pres">
      <dgm:prSet presAssocID="{5A308953-A2E3-4775-8E36-2316E3EC9967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C7E1ACB-F6CB-40DC-B6FF-2AB2F9F6A198}" type="pres">
      <dgm:prSet presAssocID="{5A308953-A2E3-4775-8E36-2316E3EC9967}" presName="parentRect" presStyleLbl="alignNode1" presStyleIdx="1" presStyleCnt="2"/>
      <dgm:spPr/>
      <dgm:t>
        <a:bodyPr/>
        <a:lstStyle/>
        <a:p>
          <a:endParaRPr lang="en-US"/>
        </a:p>
      </dgm:t>
    </dgm:pt>
    <dgm:pt modelId="{4EBBE320-4895-4FDA-B536-459F0AEC21D4}" type="pres">
      <dgm:prSet presAssocID="{5A308953-A2E3-4775-8E36-2316E3EC9967}" presName="adorn" presStyleLbl="fgAccFollowNode1" presStyleIdx="1" presStyleCnt="2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</dgm:ptLst>
  <dgm:cxnLst>
    <dgm:cxn modelId="{A30D1E6C-2E62-4888-95EE-C669BB029C88}" type="presOf" srcId="{631A2CE0-7E42-4D85-B2C2-A6F8EEE9DBAA}" destId="{32CF0F19-CF0E-48CD-AE1C-60A28CC84BC2}" srcOrd="0" destOrd="2" presId="urn:microsoft.com/office/officeart/2005/8/layout/bList2"/>
    <dgm:cxn modelId="{AB4C2642-7F03-4F12-9552-F19D417527B0}" type="presOf" srcId="{AA58C146-C09D-4FFA-B598-DFB3A06A7510}" destId="{32CF0F19-CF0E-48CD-AE1C-60A28CC84BC2}" srcOrd="0" destOrd="3" presId="urn:microsoft.com/office/officeart/2005/8/layout/bList2"/>
    <dgm:cxn modelId="{B0BC4392-8B83-47D1-896E-D0977F333076}" type="presOf" srcId="{4D6EB894-9451-40F0-AD9E-F46884F70D00}" destId="{F7FE98E6-48FB-4E27-BC17-5F98A8A576B5}" srcOrd="0" destOrd="0" presId="urn:microsoft.com/office/officeart/2005/8/layout/bList2"/>
    <dgm:cxn modelId="{FCCE3E1E-D625-43A2-91CC-01266C4FCF98}" srcId="{5A308953-A2E3-4775-8E36-2316E3EC9967}" destId="{AA58C146-C09D-4FFA-B598-DFB3A06A7510}" srcOrd="3" destOrd="0" parTransId="{88EEB920-119A-4A29-8DA5-03856AD28B15}" sibTransId="{140164D2-7CA2-4804-99EF-C3B0448E1E9D}"/>
    <dgm:cxn modelId="{5C847745-9730-488E-A5EC-323B70C988BC}" type="presOf" srcId="{6C6FBFE6-284C-4A87-AC7D-D6455392E474}" destId="{B60A4E91-E8E0-4542-9DA6-D6F0E10DAEF0}" srcOrd="0" destOrd="0" presId="urn:microsoft.com/office/officeart/2005/8/layout/bList2"/>
    <dgm:cxn modelId="{67046BDA-0D8B-4B49-94B6-A422C580BD71}" type="presOf" srcId="{0C996419-9549-4B81-A595-C32D4B85CC58}" destId="{445FE864-91D1-4BB2-B9BE-A8CC50F96578}" srcOrd="0" destOrd="0" presId="urn:microsoft.com/office/officeart/2005/8/layout/bList2"/>
    <dgm:cxn modelId="{621F375F-6509-446A-9B0C-29A2D63BBEDF}" type="presOf" srcId="{5A308953-A2E3-4775-8E36-2316E3EC9967}" destId="{9C7E1ACB-F6CB-40DC-B6FF-2AB2F9F6A198}" srcOrd="1" destOrd="0" presId="urn:microsoft.com/office/officeart/2005/8/layout/bList2"/>
    <dgm:cxn modelId="{CA8583F1-4D0C-4C6E-9043-1ED2E8F3A8B2}" srcId="{5A308953-A2E3-4775-8E36-2316E3EC9967}" destId="{631A2CE0-7E42-4D85-B2C2-A6F8EEE9DBAA}" srcOrd="2" destOrd="0" parTransId="{BD8765ED-A7A6-4F41-9343-228D7FDB7C10}" sibTransId="{A6647EFE-14BA-4D58-8C9B-6C0B3DDFF09B}"/>
    <dgm:cxn modelId="{BB1D8E58-C721-415D-B13B-FA531A3A60EC}" type="presOf" srcId="{8C5D4B0A-574A-434C-9209-8C06EB9ADEDE}" destId="{32CF0F19-CF0E-48CD-AE1C-60A28CC84BC2}" srcOrd="0" destOrd="0" presId="urn:microsoft.com/office/officeart/2005/8/layout/bList2"/>
    <dgm:cxn modelId="{F9AD75DE-FCEA-42E6-A768-03E9D6CC08FE}" type="presOf" srcId="{6C6FBFE6-284C-4A87-AC7D-D6455392E474}" destId="{669669DF-3902-4787-A68D-68488F6891D6}" srcOrd="1" destOrd="0" presId="urn:microsoft.com/office/officeart/2005/8/layout/bList2"/>
    <dgm:cxn modelId="{00CDB57A-076E-4DE4-982A-3467DFCCE948}" srcId="{6C6FBFE6-284C-4A87-AC7D-D6455392E474}" destId="{0C996419-9549-4B81-A595-C32D4B85CC58}" srcOrd="0" destOrd="0" parTransId="{8579E0BD-E3D7-4F05-AB4D-0BE3A0817039}" sibTransId="{F43A72E8-1D47-4A05-91E3-D5B47E904593}"/>
    <dgm:cxn modelId="{D62D190C-63B5-4558-964C-322CBDE45F20}" type="presOf" srcId="{A8A454FA-F690-4457-ABCE-9CB89D06C92A}" destId="{4E7F77D3-8CB3-4855-B334-2187BCFD491E}" srcOrd="0" destOrd="0" presId="urn:microsoft.com/office/officeart/2005/8/layout/bList2"/>
    <dgm:cxn modelId="{819F47DA-AEE3-4474-A645-FC16D40E78C8}" srcId="{5A308953-A2E3-4775-8E36-2316E3EC9967}" destId="{149D5D22-20B3-4E05-9C39-8D46FB5C1DD2}" srcOrd="1" destOrd="0" parTransId="{6DC147C4-EBF0-40FD-8F92-60939DDFAC3A}" sibTransId="{0CF35FC5-30C7-424C-B60F-78282B8065FD}"/>
    <dgm:cxn modelId="{6449D237-D03F-4207-AFBD-BAC40B750A8C}" type="presOf" srcId="{5A308953-A2E3-4775-8E36-2316E3EC9967}" destId="{F182A0BB-3ABE-4242-9477-1A49D3803EEF}" srcOrd="0" destOrd="0" presId="urn:microsoft.com/office/officeart/2005/8/layout/bList2"/>
    <dgm:cxn modelId="{72C6FF11-9E77-41F7-9AA5-FB757ADFDC2D}" type="presOf" srcId="{149D5D22-20B3-4E05-9C39-8D46FB5C1DD2}" destId="{32CF0F19-CF0E-48CD-AE1C-60A28CC84BC2}" srcOrd="0" destOrd="1" presId="urn:microsoft.com/office/officeart/2005/8/layout/bList2"/>
    <dgm:cxn modelId="{CBBEE84B-8F0E-4259-BA67-A503979645EB}" srcId="{4D6EB894-9451-40F0-AD9E-F46884F70D00}" destId="{5A308953-A2E3-4775-8E36-2316E3EC9967}" srcOrd="1" destOrd="0" parTransId="{08D9D3A0-7F37-4065-BD7A-935865C2E28F}" sibTransId="{1D8B16B2-2A5F-4F97-B133-74C7313E3734}"/>
    <dgm:cxn modelId="{434AE9E4-28B9-43E1-A22A-BDB91F8F362B}" srcId="{4D6EB894-9451-40F0-AD9E-F46884F70D00}" destId="{6C6FBFE6-284C-4A87-AC7D-D6455392E474}" srcOrd="0" destOrd="0" parTransId="{64E2CFA5-2C8D-4552-A6FC-8658DE360CFC}" sibTransId="{A8A454FA-F690-4457-ABCE-9CB89D06C92A}"/>
    <dgm:cxn modelId="{BDC1AC88-0E24-427A-BA47-2680251728A8}" srcId="{5A308953-A2E3-4775-8E36-2316E3EC9967}" destId="{8C5D4B0A-574A-434C-9209-8C06EB9ADEDE}" srcOrd="0" destOrd="0" parTransId="{545A4513-EEEF-49E1-BA7B-0585177A0C66}" sibTransId="{3608A201-46EA-4D03-A09B-EBC75E7F74E0}"/>
    <dgm:cxn modelId="{6003CFE4-AA07-4435-946C-26DBBA9A50B7}" type="presParOf" srcId="{F7FE98E6-48FB-4E27-BC17-5F98A8A576B5}" destId="{9E1F9C15-DF3B-424A-9864-4C8718F0BE71}" srcOrd="0" destOrd="0" presId="urn:microsoft.com/office/officeart/2005/8/layout/bList2"/>
    <dgm:cxn modelId="{ADF2D1C0-B1A1-49FF-B38D-A8FE8BBC1ED5}" type="presParOf" srcId="{9E1F9C15-DF3B-424A-9864-4C8718F0BE71}" destId="{445FE864-91D1-4BB2-B9BE-A8CC50F96578}" srcOrd="0" destOrd="0" presId="urn:microsoft.com/office/officeart/2005/8/layout/bList2"/>
    <dgm:cxn modelId="{1D911347-22A2-474F-82FD-976F53AD6BF3}" type="presParOf" srcId="{9E1F9C15-DF3B-424A-9864-4C8718F0BE71}" destId="{B60A4E91-E8E0-4542-9DA6-D6F0E10DAEF0}" srcOrd="1" destOrd="0" presId="urn:microsoft.com/office/officeart/2005/8/layout/bList2"/>
    <dgm:cxn modelId="{7295DCE5-B4BC-40B2-B64C-BEDD204161BD}" type="presParOf" srcId="{9E1F9C15-DF3B-424A-9864-4C8718F0BE71}" destId="{669669DF-3902-4787-A68D-68488F6891D6}" srcOrd="2" destOrd="0" presId="urn:microsoft.com/office/officeart/2005/8/layout/bList2"/>
    <dgm:cxn modelId="{FA0EC929-A95C-462C-BFB1-A1C6F6B1CD54}" type="presParOf" srcId="{9E1F9C15-DF3B-424A-9864-4C8718F0BE71}" destId="{BFE4FCA4-3004-4C5B-84EE-CA4F0D9A4AFF}" srcOrd="3" destOrd="0" presId="urn:microsoft.com/office/officeart/2005/8/layout/bList2"/>
    <dgm:cxn modelId="{434D38F9-E765-4709-9CF5-4FB5A3B5E04F}" type="presParOf" srcId="{F7FE98E6-48FB-4E27-BC17-5F98A8A576B5}" destId="{4E7F77D3-8CB3-4855-B334-2187BCFD491E}" srcOrd="1" destOrd="0" presId="urn:microsoft.com/office/officeart/2005/8/layout/bList2"/>
    <dgm:cxn modelId="{3CE1A0E6-B6F3-4619-9F71-217211CA2B42}" type="presParOf" srcId="{F7FE98E6-48FB-4E27-BC17-5F98A8A576B5}" destId="{EC694CD0-BA1E-4800-A2C3-7192186AB451}" srcOrd="2" destOrd="0" presId="urn:microsoft.com/office/officeart/2005/8/layout/bList2"/>
    <dgm:cxn modelId="{71561662-527C-42B8-BA64-8873117122CE}" type="presParOf" srcId="{EC694CD0-BA1E-4800-A2C3-7192186AB451}" destId="{32CF0F19-CF0E-48CD-AE1C-60A28CC84BC2}" srcOrd="0" destOrd="0" presId="urn:microsoft.com/office/officeart/2005/8/layout/bList2"/>
    <dgm:cxn modelId="{A61A4CAF-FE6E-4524-B618-B46E2CBD0375}" type="presParOf" srcId="{EC694CD0-BA1E-4800-A2C3-7192186AB451}" destId="{F182A0BB-3ABE-4242-9477-1A49D3803EEF}" srcOrd="1" destOrd="0" presId="urn:microsoft.com/office/officeart/2005/8/layout/bList2"/>
    <dgm:cxn modelId="{1F6F45D3-EFA5-40C7-8771-9CEA8EDADE28}" type="presParOf" srcId="{EC694CD0-BA1E-4800-A2C3-7192186AB451}" destId="{9C7E1ACB-F6CB-40DC-B6FF-2AB2F9F6A198}" srcOrd="2" destOrd="0" presId="urn:microsoft.com/office/officeart/2005/8/layout/bList2"/>
    <dgm:cxn modelId="{005DF1B5-F8D8-4F84-879E-9011004DD7F6}" type="presParOf" srcId="{EC694CD0-BA1E-4800-A2C3-7192186AB451}" destId="{4EBBE320-4895-4FDA-B536-459F0AEC21D4}" srcOrd="3" destOrd="0" presId="urn:microsoft.com/office/officeart/2005/8/layout/b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3CFF3AD-2480-4FDA-8D27-D2A3010B73B4}" type="doc">
      <dgm:prSet loTypeId="urn:microsoft.com/office/officeart/2005/8/layout/cycle2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9B16E03-6082-44E3-9014-48DF95F7E465}">
      <dgm:prSet phldrT="[Text]"/>
      <dgm:spPr/>
      <dgm:t>
        <a:bodyPr/>
        <a:lstStyle/>
        <a:p>
          <a:r>
            <a:rPr lang="en-US" dirty="0" smtClean="0"/>
            <a:t>Gather data, onsite and competitor, &amp; sort through the noise</a:t>
          </a:r>
          <a:endParaRPr lang="en-US" dirty="0"/>
        </a:p>
      </dgm:t>
    </dgm:pt>
    <dgm:pt modelId="{050B9A9B-20C8-4082-9432-1B26DAD02C59}" type="parTrans" cxnId="{170C5A7C-9355-4CD9-99FD-149BC1C60D95}">
      <dgm:prSet/>
      <dgm:spPr/>
      <dgm:t>
        <a:bodyPr/>
        <a:lstStyle/>
        <a:p>
          <a:endParaRPr lang="en-US"/>
        </a:p>
      </dgm:t>
    </dgm:pt>
    <dgm:pt modelId="{3DABA3E5-9AFD-44FD-ADEC-90030F0CBB22}" type="sibTrans" cxnId="{170C5A7C-9355-4CD9-99FD-149BC1C60D95}">
      <dgm:prSet/>
      <dgm:spPr/>
      <dgm:t>
        <a:bodyPr/>
        <a:lstStyle/>
        <a:p>
          <a:endParaRPr lang="en-US"/>
        </a:p>
      </dgm:t>
    </dgm:pt>
    <dgm:pt modelId="{ED1912F7-2C42-4704-B394-8C8B56B99ABF}">
      <dgm:prSet phldrT="[Text]"/>
      <dgm:spPr/>
      <dgm:t>
        <a:bodyPr/>
        <a:lstStyle/>
        <a:p>
          <a:r>
            <a:rPr lang="en-US" dirty="0" smtClean="0"/>
            <a:t>Identify personas, value propositions, key page/s</a:t>
          </a:r>
          <a:endParaRPr lang="en-US" dirty="0"/>
        </a:p>
      </dgm:t>
    </dgm:pt>
    <dgm:pt modelId="{821390E2-7D5F-4B99-A7AA-B44D479F8731}" type="parTrans" cxnId="{3B4C06D8-2C8D-439E-9654-7AC247561CB2}">
      <dgm:prSet/>
      <dgm:spPr/>
      <dgm:t>
        <a:bodyPr/>
        <a:lstStyle/>
        <a:p>
          <a:endParaRPr lang="en-US"/>
        </a:p>
      </dgm:t>
    </dgm:pt>
    <dgm:pt modelId="{679F713F-F8FF-4A96-A07B-C328D0B111A3}" type="sibTrans" cxnId="{3B4C06D8-2C8D-439E-9654-7AC247561CB2}">
      <dgm:prSet/>
      <dgm:spPr/>
      <dgm:t>
        <a:bodyPr/>
        <a:lstStyle/>
        <a:p>
          <a:endParaRPr lang="en-US"/>
        </a:p>
      </dgm:t>
    </dgm:pt>
    <dgm:pt modelId="{C8B8D016-3F8C-4EE2-9C76-83167573F517}">
      <dgm:prSet phldrT="[Text]"/>
      <dgm:spPr/>
      <dgm:t>
        <a:bodyPr/>
        <a:lstStyle/>
        <a:p>
          <a:r>
            <a:rPr lang="en-US" dirty="0" smtClean="0"/>
            <a:t>Establish Macro &amp; Micro KPI’s</a:t>
          </a:r>
          <a:endParaRPr lang="en-US" dirty="0"/>
        </a:p>
      </dgm:t>
    </dgm:pt>
    <dgm:pt modelId="{4FF6F167-C2A4-4C5F-83A6-2EE31A61E83F}" type="parTrans" cxnId="{9CF7A1BD-2507-408F-9300-4207AA7651F5}">
      <dgm:prSet/>
      <dgm:spPr/>
      <dgm:t>
        <a:bodyPr/>
        <a:lstStyle/>
        <a:p>
          <a:endParaRPr lang="en-US"/>
        </a:p>
      </dgm:t>
    </dgm:pt>
    <dgm:pt modelId="{7F4AE3B7-EF3F-4D82-A51E-76E809920D42}" type="sibTrans" cxnId="{9CF7A1BD-2507-408F-9300-4207AA7651F5}">
      <dgm:prSet/>
      <dgm:spPr/>
      <dgm:t>
        <a:bodyPr/>
        <a:lstStyle/>
        <a:p>
          <a:endParaRPr lang="en-US"/>
        </a:p>
      </dgm:t>
    </dgm:pt>
    <dgm:pt modelId="{B7C3AC46-4FF2-4FDA-8A93-13E0FBBBDE94}">
      <dgm:prSet phldrT="[Text]"/>
      <dgm:spPr/>
      <dgm:t>
        <a:bodyPr/>
        <a:lstStyle/>
        <a:p>
          <a:r>
            <a:rPr lang="en-US" dirty="0" smtClean="0"/>
            <a:t>Roadmap</a:t>
          </a:r>
          <a:endParaRPr lang="en-US" dirty="0"/>
        </a:p>
      </dgm:t>
    </dgm:pt>
    <dgm:pt modelId="{A837032D-CCD3-4010-862C-AADC542C79A9}" type="parTrans" cxnId="{F5AC0A43-D2EB-436B-BE13-B2812D08A370}">
      <dgm:prSet/>
      <dgm:spPr/>
      <dgm:t>
        <a:bodyPr/>
        <a:lstStyle/>
        <a:p>
          <a:endParaRPr lang="en-US"/>
        </a:p>
      </dgm:t>
    </dgm:pt>
    <dgm:pt modelId="{D4EAB4CB-637C-4D37-ADDB-3410D6C83E90}" type="sibTrans" cxnId="{F5AC0A43-D2EB-436B-BE13-B2812D08A370}">
      <dgm:prSet/>
      <dgm:spPr/>
      <dgm:t>
        <a:bodyPr/>
        <a:lstStyle/>
        <a:p>
          <a:endParaRPr lang="en-US"/>
        </a:p>
      </dgm:t>
    </dgm:pt>
    <dgm:pt modelId="{77701C35-C5AE-4627-9737-8AE751DA66B2}">
      <dgm:prSet phldrT="[Text]"/>
      <dgm:spPr/>
      <dgm:t>
        <a:bodyPr/>
        <a:lstStyle/>
        <a:p>
          <a:r>
            <a:rPr lang="en-US" dirty="0" smtClean="0"/>
            <a:t>Test Plan</a:t>
          </a:r>
          <a:endParaRPr lang="en-US" dirty="0"/>
        </a:p>
      </dgm:t>
    </dgm:pt>
    <dgm:pt modelId="{E049D37C-743F-4042-8EA6-9B98F48D9922}" type="parTrans" cxnId="{254CFBA9-B18F-44E4-BA00-29C619C2C2AF}">
      <dgm:prSet/>
      <dgm:spPr/>
      <dgm:t>
        <a:bodyPr/>
        <a:lstStyle/>
        <a:p>
          <a:endParaRPr lang="en-US"/>
        </a:p>
      </dgm:t>
    </dgm:pt>
    <dgm:pt modelId="{7349D23A-6E45-4C6B-B6A1-13C7A97F7C26}" type="sibTrans" cxnId="{254CFBA9-B18F-44E4-BA00-29C619C2C2AF}">
      <dgm:prSet/>
      <dgm:spPr/>
      <dgm:t>
        <a:bodyPr/>
        <a:lstStyle/>
        <a:p>
          <a:endParaRPr lang="en-US"/>
        </a:p>
      </dgm:t>
    </dgm:pt>
    <dgm:pt modelId="{1AE6A814-E895-464F-99DF-6B0BCDD8C3F4}">
      <dgm:prSet/>
      <dgm:spPr/>
      <dgm:t>
        <a:bodyPr/>
        <a:lstStyle/>
        <a:p>
          <a:r>
            <a:rPr lang="en-US" dirty="0" smtClean="0"/>
            <a:t>Execute - get quick wins &amp; build momentum</a:t>
          </a:r>
          <a:endParaRPr lang="en-US" dirty="0"/>
        </a:p>
      </dgm:t>
    </dgm:pt>
    <dgm:pt modelId="{5F4E1CD7-B063-492F-B29F-5B56B80BDBBD}" type="parTrans" cxnId="{D52AEC2B-C997-4BF8-B213-DE3414B1F141}">
      <dgm:prSet/>
      <dgm:spPr/>
      <dgm:t>
        <a:bodyPr/>
        <a:lstStyle/>
        <a:p>
          <a:endParaRPr lang="en-US"/>
        </a:p>
      </dgm:t>
    </dgm:pt>
    <dgm:pt modelId="{F42B7398-DEFC-477A-B237-5D75A6D532C9}" type="sibTrans" cxnId="{D52AEC2B-C997-4BF8-B213-DE3414B1F141}">
      <dgm:prSet/>
      <dgm:spPr/>
      <dgm:t>
        <a:bodyPr/>
        <a:lstStyle/>
        <a:p>
          <a:endParaRPr lang="en-US"/>
        </a:p>
      </dgm:t>
    </dgm:pt>
    <dgm:pt modelId="{A0CB4C0B-1EDA-4F03-B61F-EA2BE0108A77}">
      <dgm:prSet/>
      <dgm:spPr/>
      <dgm:t>
        <a:bodyPr/>
        <a:lstStyle/>
        <a:p>
          <a:r>
            <a:rPr lang="en-US" dirty="0" smtClean="0"/>
            <a:t>Iterate</a:t>
          </a:r>
          <a:endParaRPr lang="en-US" dirty="0"/>
        </a:p>
      </dgm:t>
    </dgm:pt>
    <dgm:pt modelId="{2716A4A3-B67C-44E3-A665-2B7BD65023E8}" type="parTrans" cxnId="{310000CA-F71E-46F0-9B40-1D29F8A48FC1}">
      <dgm:prSet/>
      <dgm:spPr/>
      <dgm:t>
        <a:bodyPr/>
        <a:lstStyle/>
        <a:p>
          <a:endParaRPr lang="en-US"/>
        </a:p>
      </dgm:t>
    </dgm:pt>
    <dgm:pt modelId="{A54D9608-B1DF-4CA5-9592-DEC257119E67}" type="sibTrans" cxnId="{310000CA-F71E-46F0-9B40-1D29F8A48FC1}">
      <dgm:prSet/>
      <dgm:spPr/>
      <dgm:t>
        <a:bodyPr/>
        <a:lstStyle/>
        <a:p>
          <a:endParaRPr lang="en-US"/>
        </a:p>
      </dgm:t>
    </dgm:pt>
    <dgm:pt modelId="{8E5059B1-6561-4DD4-9401-8F1D44AD9EF1}" type="pres">
      <dgm:prSet presAssocID="{F3CFF3AD-2480-4FDA-8D27-D2A3010B73B4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6D68D98-904C-4E8F-980B-54BAA2370C0F}" type="pres">
      <dgm:prSet presAssocID="{E9B16E03-6082-44E3-9014-48DF95F7E465}" presName="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5012CC-29A2-4497-A90F-43C58DF413A5}" type="pres">
      <dgm:prSet presAssocID="{3DABA3E5-9AFD-44FD-ADEC-90030F0CBB22}" presName="sibTrans" presStyleLbl="sibTrans2D1" presStyleIdx="0" presStyleCnt="7"/>
      <dgm:spPr/>
      <dgm:t>
        <a:bodyPr/>
        <a:lstStyle/>
        <a:p>
          <a:endParaRPr lang="en-US"/>
        </a:p>
      </dgm:t>
    </dgm:pt>
    <dgm:pt modelId="{D6D5EF3C-9D19-45F4-8F06-5E290C04F4CD}" type="pres">
      <dgm:prSet presAssocID="{3DABA3E5-9AFD-44FD-ADEC-90030F0CBB22}" presName="connectorText" presStyleLbl="sibTrans2D1" presStyleIdx="0" presStyleCnt="7"/>
      <dgm:spPr/>
      <dgm:t>
        <a:bodyPr/>
        <a:lstStyle/>
        <a:p>
          <a:endParaRPr lang="en-US"/>
        </a:p>
      </dgm:t>
    </dgm:pt>
    <dgm:pt modelId="{F8779781-4039-4326-81FB-D05FC5EF8B44}" type="pres">
      <dgm:prSet presAssocID="{ED1912F7-2C42-4704-B394-8C8B56B99ABF}" presName="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81EB1EB-EF56-4D09-B977-97E6544E8628}" type="pres">
      <dgm:prSet presAssocID="{679F713F-F8FF-4A96-A07B-C328D0B111A3}" presName="sibTrans" presStyleLbl="sibTrans2D1" presStyleIdx="1" presStyleCnt="7"/>
      <dgm:spPr/>
      <dgm:t>
        <a:bodyPr/>
        <a:lstStyle/>
        <a:p>
          <a:endParaRPr lang="en-US"/>
        </a:p>
      </dgm:t>
    </dgm:pt>
    <dgm:pt modelId="{73F3A040-79FA-4B27-9BAD-4905CBDF00C2}" type="pres">
      <dgm:prSet presAssocID="{679F713F-F8FF-4A96-A07B-C328D0B111A3}" presName="connectorText" presStyleLbl="sibTrans2D1" presStyleIdx="1" presStyleCnt="7"/>
      <dgm:spPr/>
      <dgm:t>
        <a:bodyPr/>
        <a:lstStyle/>
        <a:p>
          <a:endParaRPr lang="en-US"/>
        </a:p>
      </dgm:t>
    </dgm:pt>
    <dgm:pt modelId="{F3BBBAAF-06D0-4124-A4FD-1D4F511162BE}" type="pres">
      <dgm:prSet presAssocID="{C8B8D016-3F8C-4EE2-9C76-83167573F517}" presName="node" presStyleLbl="node1" presStyleIdx="2" presStyleCnt="7" custRadScaleRad="104339" custRadScaleInc="481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7C64512-1F27-4076-9238-24307DB157E6}" type="pres">
      <dgm:prSet presAssocID="{7F4AE3B7-EF3F-4D82-A51E-76E809920D42}" presName="sibTrans" presStyleLbl="sibTrans2D1" presStyleIdx="2" presStyleCnt="7"/>
      <dgm:spPr/>
      <dgm:t>
        <a:bodyPr/>
        <a:lstStyle/>
        <a:p>
          <a:endParaRPr lang="en-US"/>
        </a:p>
      </dgm:t>
    </dgm:pt>
    <dgm:pt modelId="{7449F43F-1DC6-4F78-9E0B-DA72EC08F1BB}" type="pres">
      <dgm:prSet presAssocID="{7F4AE3B7-EF3F-4D82-A51E-76E809920D42}" presName="connectorText" presStyleLbl="sibTrans2D1" presStyleIdx="2" presStyleCnt="7"/>
      <dgm:spPr/>
      <dgm:t>
        <a:bodyPr/>
        <a:lstStyle/>
        <a:p>
          <a:endParaRPr lang="en-US"/>
        </a:p>
      </dgm:t>
    </dgm:pt>
    <dgm:pt modelId="{3F32806C-ECD6-43D2-BE33-7E3EA2B1C10C}" type="pres">
      <dgm:prSet presAssocID="{B7C3AC46-4FF2-4FDA-8A93-13E0FBBBDE94}" presName="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3680D2F-3E32-47F8-8CC0-688C0EADAD36}" type="pres">
      <dgm:prSet presAssocID="{D4EAB4CB-637C-4D37-ADDB-3410D6C83E90}" presName="sibTrans" presStyleLbl="sibTrans2D1" presStyleIdx="3" presStyleCnt="7"/>
      <dgm:spPr/>
      <dgm:t>
        <a:bodyPr/>
        <a:lstStyle/>
        <a:p>
          <a:endParaRPr lang="en-US"/>
        </a:p>
      </dgm:t>
    </dgm:pt>
    <dgm:pt modelId="{246DF246-84F8-4C51-AF4B-5D3BE5A6A2AF}" type="pres">
      <dgm:prSet presAssocID="{D4EAB4CB-637C-4D37-ADDB-3410D6C83E90}" presName="connectorText" presStyleLbl="sibTrans2D1" presStyleIdx="3" presStyleCnt="7"/>
      <dgm:spPr/>
      <dgm:t>
        <a:bodyPr/>
        <a:lstStyle/>
        <a:p>
          <a:endParaRPr lang="en-US"/>
        </a:p>
      </dgm:t>
    </dgm:pt>
    <dgm:pt modelId="{D227DA62-9967-49F8-8886-D8FFA9ABEDCD}" type="pres">
      <dgm:prSet presAssocID="{77701C35-C5AE-4627-9737-8AE751DA66B2}" presName="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90562A8-8284-485A-9AE0-5AFA6693D0CA}" type="pres">
      <dgm:prSet presAssocID="{7349D23A-6E45-4C6B-B6A1-13C7A97F7C26}" presName="sibTrans" presStyleLbl="sibTrans2D1" presStyleIdx="4" presStyleCnt="7"/>
      <dgm:spPr/>
      <dgm:t>
        <a:bodyPr/>
        <a:lstStyle/>
        <a:p>
          <a:endParaRPr lang="en-US"/>
        </a:p>
      </dgm:t>
    </dgm:pt>
    <dgm:pt modelId="{1DA317F3-61C4-4F20-882E-8B3F3378296C}" type="pres">
      <dgm:prSet presAssocID="{7349D23A-6E45-4C6B-B6A1-13C7A97F7C26}" presName="connectorText" presStyleLbl="sibTrans2D1" presStyleIdx="4" presStyleCnt="7"/>
      <dgm:spPr/>
      <dgm:t>
        <a:bodyPr/>
        <a:lstStyle/>
        <a:p>
          <a:endParaRPr lang="en-US"/>
        </a:p>
      </dgm:t>
    </dgm:pt>
    <dgm:pt modelId="{97F1A40F-A9AE-4715-A2A7-CDCB72A3E4E6}" type="pres">
      <dgm:prSet presAssocID="{1AE6A814-E895-464F-99DF-6B0BCDD8C3F4}" presName="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8498085-9489-417B-88E2-7DFB1C3BDD14}" type="pres">
      <dgm:prSet presAssocID="{F42B7398-DEFC-477A-B237-5D75A6D532C9}" presName="sibTrans" presStyleLbl="sibTrans2D1" presStyleIdx="5" presStyleCnt="7"/>
      <dgm:spPr/>
      <dgm:t>
        <a:bodyPr/>
        <a:lstStyle/>
        <a:p>
          <a:endParaRPr lang="en-US"/>
        </a:p>
      </dgm:t>
    </dgm:pt>
    <dgm:pt modelId="{C81F3DCE-C826-452D-B4ED-C0ECE86AD898}" type="pres">
      <dgm:prSet presAssocID="{F42B7398-DEFC-477A-B237-5D75A6D532C9}" presName="connectorText" presStyleLbl="sibTrans2D1" presStyleIdx="5" presStyleCnt="7"/>
      <dgm:spPr/>
      <dgm:t>
        <a:bodyPr/>
        <a:lstStyle/>
        <a:p>
          <a:endParaRPr lang="en-US"/>
        </a:p>
      </dgm:t>
    </dgm:pt>
    <dgm:pt modelId="{8D75D446-88ED-4C1F-8D27-E528BE2A3DDC}" type="pres">
      <dgm:prSet presAssocID="{A0CB4C0B-1EDA-4F03-B61F-EA2BE0108A77}" presName="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AE64E8A-D6DC-4FDB-A144-44C2090EFA4B}" type="pres">
      <dgm:prSet presAssocID="{A54D9608-B1DF-4CA5-9592-DEC257119E67}" presName="sibTrans" presStyleLbl="sibTrans2D1" presStyleIdx="6" presStyleCnt="7"/>
      <dgm:spPr/>
      <dgm:t>
        <a:bodyPr/>
        <a:lstStyle/>
        <a:p>
          <a:endParaRPr lang="en-US"/>
        </a:p>
      </dgm:t>
    </dgm:pt>
    <dgm:pt modelId="{FCC45EE3-BDA1-454C-8ABC-34153A2EDB80}" type="pres">
      <dgm:prSet presAssocID="{A54D9608-B1DF-4CA5-9592-DEC257119E67}" presName="connectorText" presStyleLbl="sibTrans2D1" presStyleIdx="6" presStyleCnt="7"/>
      <dgm:spPr/>
      <dgm:t>
        <a:bodyPr/>
        <a:lstStyle/>
        <a:p>
          <a:endParaRPr lang="en-US"/>
        </a:p>
      </dgm:t>
    </dgm:pt>
  </dgm:ptLst>
  <dgm:cxnLst>
    <dgm:cxn modelId="{9CF7A1BD-2507-408F-9300-4207AA7651F5}" srcId="{F3CFF3AD-2480-4FDA-8D27-D2A3010B73B4}" destId="{C8B8D016-3F8C-4EE2-9C76-83167573F517}" srcOrd="2" destOrd="0" parTransId="{4FF6F167-C2A4-4C5F-83A6-2EE31A61E83F}" sibTransId="{7F4AE3B7-EF3F-4D82-A51E-76E809920D42}"/>
    <dgm:cxn modelId="{33ED2735-D827-4A85-8B26-F15FA7F64401}" type="presOf" srcId="{F3CFF3AD-2480-4FDA-8D27-D2A3010B73B4}" destId="{8E5059B1-6561-4DD4-9401-8F1D44AD9EF1}" srcOrd="0" destOrd="0" presId="urn:microsoft.com/office/officeart/2005/8/layout/cycle2"/>
    <dgm:cxn modelId="{01D160E8-A807-4F2C-A4C4-4FC7AC403F14}" type="presOf" srcId="{3DABA3E5-9AFD-44FD-ADEC-90030F0CBB22}" destId="{D6D5EF3C-9D19-45F4-8F06-5E290C04F4CD}" srcOrd="1" destOrd="0" presId="urn:microsoft.com/office/officeart/2005/8/layout/cycle2"/>
    <dgm:cxn modelId="{3B4C06D8-2C8D-439E-9654-7AC247561CB2}" srcId="{F3CFF3AD-2480-4FDA-8D27-D2A3010B73B4}" destId="{ED1912F7-2C42-4704-B394-8C8B56B99ABF}" srcOrd="1" destOrd="0" parTransId="{821390E2-7D5F-4B99-A7AA-B44D479F8731}" sibTransId="{679F713F-F8FF-4A96-A07B-C328D0B111A3}"/>
    <dgm:cxn modelId="{66A5E625-C95C-4A61-894D-BA3B97822E41}" type="presOf" srcId="{F42B7398-DEFC-477A-B237-5D75A6D532C9}" destId="{C81F3DCE-C826-452D-B4ED-C0ECE86AD898}" srcOrd="1" destOrd="0" presId="urn:microsoft.com/office/officeart/2005/8/layout/cycle2"/>
    <dgm:cxn modelId="{9D3EA446-5486-4955-99EA-25283F39FA4D}" type="presOf" srcId="{679F713F-F8FF-4A96-A07B-C328D0B111A3}" destId="{581EB1EB-EF56-4D09-B977-97E6544E8628}" srcOrd="0" destOrd="0" presId="urn:microsoft.com/office/officeart/2005/8/layout/cycle2"/>
    <dgm:cxn modelId="{FAD25ABA-4292-4133-9AE2-CFC41B01DE86}" type="presOf" srcId="{A54D9608-B1DF-4CA5-9592-DEC257119E67}" destId="{7AE64E8A-D6DC-4FDB-A144-44C2090EFA4B}" srcOrd="0" destOrd="0" presId="urn:microsoft.com/office/officeart/2005/8/layout/cycle2"/>
    <dgm:cxn modelId="{DEE5911C-9DF3-496D-83DA-45F5FAD93AA0}" type="presOf" srcId="{7349D23A-6E45-4C6B-B6A1-13C7A97F7C26}" destId="{290562A8-8284-485A-9AE0-5AFA6693D0CA}" srcOrd="0" destOrd="0" presId="urn:microsoft.com/office/officeart/2005/8/layout/cycle2"/>
    <dgm:cxn modelId="{78D29433-30F2-4DC6-84D2-D1B5804F227E}" type="presOf" srcId="{1AE6A814-E895-464F-99DF-6B0BCDD8C3F4}" destId="{97F1A40F-A9AE-4715-A2A7-CDCB72A3E4E6}" srcOrd="0" destOrd="0" presId="urn:microsoft.com/office/officeart/2005/8/layout/cycle2"/>
    <dgm:cxn modelId="{8E33E210-F929-4BDE-83CE-72166AD117E8}" type="presOf" srcId="{A0CB4C0B-1EDA-4F03-B61F-EA2BE0108A77}" destId="{8D75D446-88ED-4C1F-8D27-E528BE2A3DDC}" srcOrd="0" destOrd="0" presId="urn:microsoft.com/office/officeart/2005/8/layout/cycle2"/>
    <dgm:cxn modelId="{FFB1B9F7-667B-49C3-919F-8F4C0E82EA6A}" type="presOf" srcId="{A54D9608-B1DF-4CA5-9592-DEC257119E67}" destId="{FCC45EE3-BDA1-454C-8ABC-34153A2EDB80}" srcOrd="1" destOrd="0" presId="urn:microsoft.com/office/officeart/2005/8/layout/cycle2"/>
    <dgm:cxn modelId="{D52AEC2B-C997-4BF8-B213-DE3414B1F141}" srcId="{F3CFF3AD-2480-4FDA-8D27-D2A3010B73B4}" destId="{1AE6A814-E895-464F-99DF-6B0BCDD8C3F4}" srcOrd="5" destOrd="0" parTransId="{5F4E1CD7-B063-492F-B29F-5B56B80BDBBD}" sibTransId="{F42B7398-DEFC-477A-B237-5D75A6D532C9}"/>
    <dgm:cxn modelId="{08E49163-E7C7-49C0-8E64-4F5CCF1EBCE5}" type="presOf" srcId="{7F4AE3B7-EF3F-4D82-A51E-76E809920D42}" destId="{C7C64512-1F27-4076-9238-24307DB157E6}" srcOrd="0" destOrd="0" presId="urn:microsoft.com/office/officeart/2005/8/layout/cycle2"/>
    <dgm:cxn modelId="{F5AC0A43-D2EB-436B-BE13-B2812D08A370}" srcId="{F3CFF3AD-2480-4FDA-8D27-D2A3010B73B4}" destId="{B7C3AC46-4FF2-4FDA-8A93-13E0FBBBDE94}" srcOrd="3" destOrd="0" parTransId="{A837032D-CCD3-4010-862C-AADC542C79A9}" sibTransId="{D4EAB4CB-637C-4D37-ADDB-3410D6C83E90}"/>
    <dgm:cxn modelId="{8E067707-546F-4700-83F0-DCB4DAB22E71}" type="presOf" srcId="{7F4AE3B7-EF3F-4D82-A51E-76E809920D42}" destId="{7449F43F-1DC6-4F78-9E0B-DA72EC08F1BB}" srcOrd="1" destOrd="0" presId="urn:microsoft.com/office/officeart/2005/8/layout/cycle2"/>
    <dgm:cxn modelId="{DDBC27AC-A361-4431-A1D6-B651D29D8D01}" type="presOf" srcId="{3DABA3E5-9AFD-44FD-ADEC-90030F0CBB22}" destId="{FA5012CC-29A2-4497-A90F-43C58DF413A5}" srcOrd="0" destOrd="0" presId="urn:microsoft.com/office/officeart/2005/8/layout/cycle2"/>
    <dgm:cxn modelId="{170C5A7C-9355-4CD9-99FD-149BC1C60D95}" srcId="{F3CFF3AD-2480-4FDA-8D27-D2A3010B73B4}" destId="{E9B16E03-6082-44E3-9014-48DF95F7E465}" srcOrd="0" destOrd="0" parTransId="{050B9A9B-20C8-4082-9432-1B26DAD02C59}" sibTransId="{3DABA3E5-9AFD-44FD-ADEC-90030F0CBB22}"/>
    <dgm:cxn modelId="{A64545A2-050A-465A-977D-41A44687934B}" type="presOf" srcId="{B7C3AC46-4FF2-4FDA-8A93-13E0FBBBDE94}" destId="{3F32806C-ECD6-43D2-BE33-7E3EA2B1C10C}" srcOrd="0" destOrd="0" presId="urn:microsoft.com/office/officeart/2005/8/layout/cycle2"/>
    <dgm:cxn modelId="{7790C164-F873-4A64-9219-BD1CF3C2F261}" type="presOf" srcId="{679F713F-F8FF-4A96-A07B-C328D0B111A3}" destId="{73F3A040-79FA-4B27-9BAD-4905CBDF00C2}" srcOrd="1" destOrd="0" presId="urn:microsoft.com/office/officeart/2005/8/layout/cycle2"/>
    <dgm:cxn modelId="{DF29A41B-1E1E-4CAC-B716-867C5F26816B}" type="presOf" srcId="{77701C35-C5AE-4627-9737-8AE751DA66B2}" destId="{D227DA62-9967-49F8-8886-D8FFA9ABEDCD}" srcOrd="0" destOrd="0" presId="urn:microsoft.com/office/officeart/2005/8/layout/cycle2"/>
    <dgm:cxn modelId="{DF7F4A5B-99CB-447A-91FF-E76A2904ABE7}" type="presOf" srcId="{D4EAB4CB-637C-4D37-ADDB-3410D6C83E90}" destId="{246DF246-84F8-4C51-AF4B-5D3BE5A6A2AF}" srcOrd="1" destOrd="0" presId="urn:microsoft.com/office/officeart/2005/8/layout/cycle2"/>
    <dgm:cxn modelId="{235198B7-2C43-4A0A-BE37-93E386320309}" type="presOf" srcId="{E9B16E03-6082-44E3-9014-48DF95F7E465}" destId="{86D68D98-904C-4E8F-980B-54BAA2370C0F}" srcOrd="0" destOrd="0" presId="urn:microsoft.com/office/officeart/2005/8/layout/cycle2"/>
    <dgm:cxn modelId="{3F857FC1-AA0B-4EED-8A97-49B4E6CF1E12}" type="presOf" srcId="{F42B7398-DEFC-477A-B237-5D75A6D532C9}" destId="{18498085-9489-417B-88E2-7DFB1C3BDD14}" srcOrd="0" destOrd="0" presId="urn:microsoft.com/office/officeart/2005/8/layout/cycle2"/>
    <dgm:cxn modelId="{D9CBAB5F-B2B1-41BC-B7A6-C1BB673CD96A}" type="presOf" srcId="{ED1912F7-2C42-4704-B394-8C8B56B99ABF}" destId="{F8779781-4039-4326-81FB-D05FC5EF8B44}" srcOrd="0" destOrd="0" presId="urn:microsoft.com/office/officeart/2005/8/layout/cycle2"/>
    <dgm:cxn modelId="{91284612-EB72-4B72-931A-B35C2F6C7094}" type="presOf" srcId="{C8B8D016-3F8C-4EE2-9C76-83167573F517}" destId="{F3BBBAAF-06D0-4124-A4FD-1D4F511162BE}" srcOrd="0" destOrd="0" presId="urn:microsoft.com/office/officeart/2005/8/layout/cycle2"/>
    <dgm:cxn modelId="{254CFBA9-B18F-44E4-BA00-29C619C2C2AF}" srcId="{F3CFF3AD-2480-4FDA-8D27-D2A3010B73B4}" destId="{77701C35-C5AE-4627-9737-8AE751DA66B2}" srcOrd="4" destOrd="0" parTransId="{E049D37C-743F-4042-8EA6-9B98F48D9922}" sibTransId="{7349D23A-6E45-4C6B-B6A1-13C7A97F7C26}"/>
    <dgm:cxn modelId="{3248F68D-CFE0-4B63-837A-933D838A9607}" type="presOf" srcId="{7349D23A-6E45-4C6B-B6A1-13C7A97F7C26}" destId="{1DA317F3-61C4-4F20-882E-8B3F3378296C}" srcOrd="1" destOrd="0" presId="urn:microsoft.com/office/officeart/2005/8/layout/cycle2"/>
    <dgm:cxn modelId="{310000CA-F71E-46F0-9B40-1D29F8A48FC1}" srcId="{F3CFF3AD-2480-4FDA-8D27-D2A3010B73B4}" destId="{A0CB4C0B-1EDA-4F03-B61F-EA2BE0108A77}" srcOrd="6" destOrd="0" parTransId="{2716A4A3-B67C-44E3-A665-2B7BD65023E8}" sibTransId="{A54D9608-B1DF-4CA5-9592-DEC257119E67}"/>
    <dgm:cxn modelId="{CA04512F-DFE8-400A-B18B-41867D86401A}" type="presOf" srcId="{D4EAB4CB-637C-4D37-ADDB-3410D6C83E90}" destId="{13680D2F-3E32-47F8-8CC0-688C0EADAD36}" srcOrd="0" destOrd="0" presId="urn:microsoft.com/office/officeart/2005/8/layout/cycle2"/>
    <dgm:cxn modelId="{54475BEF-9C00-4EFD-81E1-CAA3A513B5EB}" type="presParOf" srcId="{8E5059B1-6561-4DD4-9401-8F1D44AD9EF1}" destId="{86D68D98-904C-4E8F-980B-54BAA2370C0F}" srcOrd="0" destOrd="0" presId="urn:microsoft.com/office/officeart/2005/8/layout/cycle2"/>
    <dgm:cxn modelId="{2B7F41D7-C2A2-4F9E-AA60-36BAD462179A}" type="presParOf" srcId="{8E5059B1-6561-4DD4-9401-8F1D44AD9EF1}" destId="{FA5012CC-29A2-4497-A90F-43C58DF413A5}" srcOrd="1" destOrd="0" presId="urn:microsoft.com/office/officeart/2005/8/layout/cycle2"/>
    <dgm:cxn modelId="{5155D8C2-9231-4D4A-9D6D-F37F4E3EC90E}" type="presParOf" srcId="{FA5012CC-29A2-4497-A90F-43C58DF413A5}" destId="{D6D5EF3C-9D19-45F4-8F06-5E290C04F4CD}" srcOrd="0" destOrd="0" presId="urn:microsoft.com/office/officeart/2005/8/layout/cycle2"/>
    <dgm:cxn modelId="{25BB3C2F-6DC3-4F09-84B3-79D411908538}" type="presParOf" srcId="{8E5059B1-6561-4DD4-9401-8F1D44AD9EF1}" destId="{F8779781-4039-4326-81FB-D05FC5EF8B44}" srcOrd="2" destOrd="0" presId="urn:microsoft.com/office/officeart/2005/8/layout/cycle2"/>
    <dgm:cxn modelId="{719E74D7-82CF-4DEA-8A84-19911147EFE7}" type="presParOf" srcId="{8E5059B1-6561-4DD4-9401-8F1D44AD9EF1}" destId="{581EB1EB-EF56-4D09-B977-97E6544E8628}" srcOrd="3" destOrd="0" presId="urn:microsoft.com/office/officeart/2005/8/layout/cycle2"/>
    <dgm:cxn modelId="{68A78E5B-3E33-44A0-8AD3-A30B0D9430CC}" type="presParOf" srcId="{581EB1EB-EF56-4D09-B977-97E6544E8628}" destId="{73F3A040-79FA-4B27-9BAD-4905CBDF00C2}" srcOrd="0" destOrd="0" presId="urn:microsoft.com/office/officeart/2005/8/layout/cycle2"/>
    <dgm:cxn modelId="{876F0925-58E2-45FF-8488-4A16C0BFA780}" type="presParOf" srcId="{8E5059B1-6561-4DD4-9401-8F1D44AD9EF1}" destId="{F3BBBAAF-06D0-4124-A4FD-1D4F511162BE}" srcOrd="4" destOrd="0" presId="urn:microsoft.com/office/officeart/2005/8/layout/cycle2"/>
    <dgm:cxn modelId="{4ADEFADD-7352-49BE-8F7F-3C038483DACB}" type="presParOf" srcId="{8E5059B1-6561-4DD4-9401-8F1D44AD9EF1}" destId="{C7C64512-1F27-4076-9238-24307DB157E6}" srcOrd="5" destOrd="0" presId="urn:microsoft.com/office/officeart/2005/8/layout/cycle2"/>
    <dgm:cxn modelId="{78E73C21-A6BE-4262-ACC3-7321913480FE}" type="presParOf" srcId="{C7C64512-1F27-4076-9238-24307DB157E6}" destId="{7449F43F-1DC6-4F78-9E0B-DA72EC08F1BB}" srcOrd="0" destOrd="0" presId="urn:microsoft.com/office/officeart/2005/8/layout/cycle2"/>
    <dgm:cxn modelId="{63B0E3D7-9231-417D-9762-E8B55985361A}" type="presParOf" srcId="{8E5059B1-6561-4DD4-9401-8F1D44AD9EF1}" destId="{3F32806C-ECD6-43D2-BE33-7E3EA2B1C10C}" srcOrd="6" destOrd="0" presId="urn:microsoft.com/office/officeart/2005/8/layout/cycle2"/>
    <dgm:cxn modelId="{B1DF6F96-87DF-4E50-B528-FE0F1BBD1A69}" type="presParOf" srcId="{8E5059B1-6561-4DD4-9401-8F1D44AD9EF1}" destId="{13680D2F-3E32-47F8-8CC0-688C0EADAD36}" srcOrd="7" destOrd="0" presId="urn:microsoft.com/office/officeart/2005/8/layout/cycle2"/>
    <dgm:cxn modelId="{54697C69-DD94-4A30-AA00-C2545516969D}" type="presParOf" srcId="{13680D2F-3E32-47F8-8CC0-688C0EADAD36}" destId="{246DF246-84F8-4C51-AF4B-5D3BE5A6A2AF}" srcOrd="0" destOrd="0" presId="urn:microsoft.com/office/officeart/2005/8/layout/cycle2"/>
    <dgm:cxn modelId="{B1E46E4B-7EAA-4AF9-A3D8-33CD088FB0AF}" type="presParOf" srcId="{8E5059B1-6561-4DD4-9401-8F1D44AD9EF1}" destId="{D227DA62-9967-49F8-8886-D8FFA9ABEDCD}" srcOrd="8" destOrd="0" presId="urn:microsoft.com/office/officeart/2005/8/layout/cycle2"/>
    <dgm:cxn modelId="{1DF600A0-EAB0-43EF-B0CD-AD84CD05DD8D}" type="presParOf" srcId="{8E5059B1-6561-4DD4-9401-8F1D44AD9EF1}" destId="{290562A8-8284-485A-9AE0-5AFA6693D0CA}" srcOrd="9" destOrd="0" presId="urn:microsoft.com/office/officeart/2005/8/layout/cycle2"/>
    <dgm:cxn modelId="{9BFBDA5A-C127-4F35-8A73-64CAB5B655C0}" type="presParOf" srcId="{290562A8-8284-485A-9AE0-5AFA6693D0CA}" destId="{1DA317F3-61C4-4F20-882E-8B3F3378296C}" srcOrd="0" destOrd="0" presId="urn:microsoft.com/office/officeart/2005/8/layout/cycle2"/>
    <dgm:cxn modelId="{0BFAEF2C-5633-4B19-B9A5-837ECED080B7}" type="presParOf" srcId="{8E5059B1-6561-4DD4-9401-8F1D44AD9EF1}" destId="{97F1A40F-A9AE-4715-A2A7-CDCB72A3E4E6}" srcOrd="10" destOrd="0" presId="urn:microsoft.com/office/officeart/2005/8/layout/cycle2"/>
    <dgm:cxn modelId="{C46E6A2E-C265-4D07-9E96-3172698478C8}" type="presParOf" srcId="{8E5059B1-6561-4DD4-9401-8F1D44AD9EF1}" destId="{18498085-9489-417B-88E2-7DFB1C3BDD14}" srcOrd="11" destOrd="0" presId="urn:microsoft.com/office/officeart/2005/8/layout/cycle2"/>
    <dgm:cxn modelId="{79415380-E21D-408E-92D2-31F32E757B7D}" type="presParOf" srcId="{18498085-9489-417B-88E2-7DFB1C3BDD14}" destId="{C81F3DCE-C826-452D-B4ED-C0ECE86AD898}" srcOrd="0" destOrd="0" presId="urn:microsoft.com/office/officeart/2005/8/layout/cycle2"/>
    <dgm:cxn modelId="{43045700-249A-4F73-8997-54310659378F}" type="presParOf" srcId="{8E5059B1-6561-4DD4-9401-8F1D44AD9EF1}" destId="{8D75D446-88ED-4C1F-8D27-E528BE2A3DDC}" srcOrd="12" destOrd="0" presId="urn:microsoft.com/office/officeart/2005/8/layout/cycle2"/>
    <dgm:cxn modelId="{52452114-F71C-45B2-8403-287819364615}" type="presParOf" srcId="{8E5059B1-6561-4DD4-9401-8F1D44AD9EF1}" destId="{7AE64E8A-D6DC-4FDB-A144-44C2090EFA4B}" srcOrd="13" destOrd="0" presId="urn:microsoft.com/office/officeart/2005/8/layout/cycle2"/>
    <dgm:cxn modelId="{0C656F4D-50DB-4DFF-9116-C6D497A0BCBB}" type="presParOf" srcId="{7AE64E8A-D6DC-4FDB-A144-44C2090EFA4B}" destId="{FCC45EE3-BDA1-454C-8ABC-34153A2EDB80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F90EFAC-DCE6-430F-B41B-1CCA70AE31B9}" type="doc">
      <dgm:prSet loTypeId="urn:microsoft.com/office/officeart/2005/8/layout/funnel1" loCatId="process" qsTypeId="urn:microsoft.com/office/officeart/2005/8/quickstyle/simple2" qsCatId="simple" csTypeId="urn:microsoft.com/office/officeart/2005/8/colors/accent1_2" csCatId="accent1" phldr="1"/>
      <dgm:spPr/>
    </dgm:pt>
    <dgm:pt modelId="{36F81413-A746-49C3-83C6-1C13E900B095}">
      <dgm:prSet phldrT="[Text]"/>
      <dgm:spPr/>
      <dgm:t>
        <a:bodyPr/>
        <a:lstStyle/>
        <a:p>
          <a:r>
            <a:rPr lang="en-US" dirty="0" smtClean="0"/>
            <a:t>Inquiry</a:t>
          </a:r>
          <a:endParaRPr lang="en-US" dirty="0"/>
        </a:p>
      </dgm:t>
    </dgm:pt>
    <dgm:pt modelId="{F5B003F4-7F2B-4BAE-9B1F-08DE8541B11C}" type="parTrans" cxnId="{93C9352D-D8BD-4B5C-9577-003F12030BCC}">
      <dgm:prSet/>
      <dgm:spPr/>
      <dgm:t>
        <a:bodyPr/>
        <a:lstStyle/>
        <a:p>
          <a:endParaRPr lang="en-US"/>
        </a:p>
      </dgm:t>
    </dgm:pt>
    <dgm:pt modelId="{0843DD3E-F648-4A2A-93BC-7F0B02DC41EA}" type="sibTrans" cxnId="{93C9352D-D8BD-4B5C-9577-003F12030BCC}">
      <dgm:prSet/>
      <dgm:spPr/>
      <dgm:t>
        <a:bodyPr/>
        <a:lstStyle/>
        <a:p>
          <a:endParaRPr lang="en-US"/>
        </a:p>
      </dgm:t>
    </dgm:pt>
    <dgm:pt modelId="{E1B997B7-F33E-4FEB-A023-B7E2C36457F3}">
      <dgm:prSet phldrT="[Text]"/>
      <dgm:spPr/>
      <dgm:t>
        <a:bodyPr/>
        <a:lstStyle/>
        <a:p>
          <a:r>
            <a:rPr lang="en-US" dirty="0" smtClean="0"/>
            <a:t>Quality Lead</a:t>
          </a:r>
          <a:endParaRPr lang="en-US" dirty="0"/>
        </a:p>
      </dgm:t>
    </dgm:pt>
    <dgm:pt modelId="{FEA1BFD8-54F0-48FF-A33F-E743AF17E63C}" type="parTrans" cxnId="{CED5C795-D11E-48C4-ACC4-FB1912D998C3}">
      <dgm:prSet/>
      <dgm:spPr/>
      <dgm:t>
        <a:bodyPr/>
        <a:lstStyle/>
        <a:p>
          <a:endParaRPr lang="en-US"/>
        </a:p>
      </dgm:t>
    </dgm:pt>
    <dgm:pt modelId="{234CDB2A-EAFF-4357-99B8-77A2DCEE7D8F}" type="sibTrans" cxnId="{CED5C795-D11E-48C4-ACC4-FB1912D998C3}">
      <dgm:prSet/>
      <dgm:spPr/>
      <dgm:t>
        <a:bodyPr/>
        <a:lstStyle/>
        <a:p>
          <a:endParaRPr lang="en-US"/>
        </a:p>
      </dgm:t>
    </dgm:pt>
    <dgm:pt modelId="{E030D218-9C72-426D-91C9-986A48FEA169}">
      <dgm:prSet phldrT="[Text]"/>
      <dgm:spPr/>
      <dgm:t>
        <a:bodyPr/>
        <a:lstStyle/>
        <a:p>
          <a:r>
            <a:rPr lang="en-US" dirty="0" smtClean="0"/>
            <a:t>Win </a:t>
          </a:r>
          <a:endParaRPr lang="en-US" dirty="0"/>
        </a:p>
      </dgm:t>
    </dgm:pt>
    <dgm:pt modelId="{3C93FBB6-1A4D-456C-92BA-232036A0BC81}" type="parTrans" cxnId="{A19DD2A7-3243-4F7D-9AC5-F9D79AE31E1A}">
      <dgm:prSet/>
      <dgm:spPr/>
      <dgm:t>
        <a:bodyPr/>
        <a:lstStyle/>
        <a:p>
          <a:endParaRPr lang="en-US"/>
        </a:p>
      </dgm:t>
    </dgm:pt>
    <dgm:pt modelId="{43DFC291-7033-44D1-BF36-2C48E4727213}" type="sibTrans" cxnId="{A19DD2A7-3243-4F7D-9AC5-F9D79AE31E1A}">
      <dgm:prSet/>
      <dgm:spPr/>
      <dgm:t>
        <a:bodyPr/>
        <a:lstStyle/>
        <a:p>
          <a:endParaRPr lang="en-US"/>
        </a:p>
      </dgm:t>
    </dgm:pt>
    <dgm:pt modelId="{55C57738-439E-4DCD-99F9-375ED81CBB5D}" type="pres">
      <dgm:prSet presAssocID="{8F90EFAC-DCE6-430F-B41B-1CCA70AE31B9}" presName="Name0" presStyleCnt="0">
        <dgm:presLayoutVars>
          <dgm:chMax val="4"/>
          <dgm:resizeHandles val="exact"/>
        </dgm:presLayoutVars>
      </dgm:prSet>
      <dgm:spPr/>
    </dgm:pt>
    <dgm:pt modelId="{23487B9E-C049-4C74-A579-7EA0E883529B}" type="pres">
      <dgm:prSet presAssocID="{8F90EFAC-DCE6-430F-B41B-1CCA70AE31B9}" presName="ellipse" presStyleLbl="trBgShp" presStyleIdx="0" presStyleCnt="1"/>
      <dgm:spPr/>
    </dgm:pt>
    <dgm:pt modelId="{5D993666-EB61-4472-8B7F-02FB1ECE8A6D}" type="pres">
      <dgm:prSet presAssocID="{8F90EFAC-DCE6-430F-B41B-1CCA70AE31B9}" presName="arrow1" presStyleLbl="fgShp" presStyleIdx="0" presStyleCnt="1"/>
      <dgm:spPr/>
    </dgm:pt>
    <dgm:pt modelId="{E3FB904F-F966-4862-8FB8-EB8DF402B7C5}" type="pres">
      <dgm:prSet presAssocID="{8F90EFAC-DCE6-430F-B41B-1CCA70AE31B9}" presName="rectangle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29A3A09-CA90-4205-9430-F78BDF778733}" type="pres">
      <dgm:prSet presAssocID="{E1B997B7-F33E-4FEB-A023-B7E2C36457F3}" presName="item1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2855315-77BB-42BB-8D24-66C437E5F3E7}" type="pres">
      <dgm:prSet presAssocID="{E030D218-9C72-426D-91C9-986A48FEA169}" presName="item2" presStyleLbl="node1" presStyleIdx="1" presStyleCnt="2" custScaleX="108193" custScaleY="124623" custLinFactNeighborX="32501" custLinFactNeighborY="-3076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1B08B25-46CA-4545-9471-50F165ACDB76}" type="pres">
      <dgm:prSet presAssocID="{8F90EFAC-DCE6-430F-B41B-1CCA70AE31B9}" presName="funnel" presStyleLbl="trAlignAcc1" presStyleIdx="0" presStyleCnt="1"/>
      <dgm:spPr/>
    </dgm:pt>
  </dgm:ptLst>
  <dgm:cxnLst>
    <dgm:cxn modelId="{EE8979CA-9444-4C43-A1E4-65BEF6B41A4A}" type="presOf" srcId="{E030D218-9C72-426D-91C9-986A48FEA169}" destId="{E3FB904F-F966-4862-8FB8-EB8DF402B7C5}" srcOrd="0" destOrd="0" presId="urn:microsoft.com/office/officeart/2005/8/layout/funnel1"/>
    <dgm:cxn modelId="{CED5C795-D11E-48C4-ACC4-FB1912D998C3}" srcId="{8F90EFAC-DCE6-430F-B41B-1CCA70AE31B9}" destId="{E1B997B7-F33E-4FEB-A023-B7E2C36457F3}" srcOrd="1" destOrd="0" parTransId="{FEA1BFD8-54F0-48FF-A33F-E743AF17E63C}" sibTransId="{234CDB2A-EAFF-4357-99B8-77A2DCEE7D8F}"/>
    <dgm:cxn modelId="{02545E92-266F-410F-AB38-C67966D6AA14}" type="presOf" srcId="{36F81413-A746-49C3-83C6-1C13E900B095}" destId="{02855315-77BB-42BB-8D24-66C437E5F3E7}" srcOrd="0" destOrd="0" presId="urn:microsoft.com/office/officeart/2005/8/layout/funnel1"/>
    <dgm:cxn modelId="{93C9352D-D8BD-4B5C-9577-003F12030BCC}" srcId="{8F90EFAC-DCE6-430F-B41B-1CCA70AE31B9}" destId="{36F81413-A746-49C3-83C6-1C13E900B095}" srcOrd="0" destOrd="0" parTransId="{F5B003F4-7F2B-4BAE-9B1F-08DE8541B11C}" sibTransId="{0843DD3E-F648-4A2A-93BC-7F0B02DC41EA}"/>
    <dgm:cxn modelId="{E6A77952-8351-4B68-AD33-0C13A8F7BFEE}" type="presOf" srcId="{8F90EFAC-DCE6-430F-B41B-1CCA70AE31B9}" destId="{55C57738-439E-4DCD-99F9-375ED81CBB5D}" srcOrd="0" destOrd="0" presId="urn:microsoft.com/office/officeart/2005/8/layout/funnel1"/>
    <dgm:cxn modelId="{CD2D8B8F-ED0C-449C-B1A4-69B18520D00A}" type="presOf" srcId="{E1B997B7-F33E-4FEB-A023-B7E2C36457F3}" destId="{629A3A09-CA90-4205-9430-F78BDF778733}" srcOrd="0" destOrd="0" presId="urn:microsoft.com/office/officeart/2005/8/layout/funnel1"/>
    <dgm:cxn modelId="{A19DD2A7-3243-4F7D-9AC5-F9D79AE31E1A}" srcId="{8F90EFAC-DCE6-430F-B41B-1CCA70AE31B9}" destId="{E030D218-9C72-426D-91C9-986A48FEA169}" srcOrd="2" destOrd="0" parTransId="{3C93FBB6-1A4D-456C-92BA-232036A0BC81}" sibTransId="{43DFC291-7033-44D1-BF36-2C48E4727213}"/>
    <dgm:cxn modelId="{9CF54860-8A52-4718-B237-F735962B0A65}" type="presParOf" srcId="{55C57738-439E-4DCD-99F9-375ED81CBB5D}" destId="{23487B9E-C049-4C74-A579-7EA0E883529B}" srcOrd="0" destOrd="0" presId="urn:microsoft.com/office/officeart/2005/8/layout/funnel1"/>
    <dgm:cxn modelId="{7CEB1AC6-EBA7-40F1-96A6-E2DE84117A1F}" type="presParOf" srcId="{55C57738-439E-4DCD-99F9-375ED81CBB5D}" destId="{5D993666-EB61-4472-8B7F-02FB1ECE8A6D}" srcOrd="1" destOrd="0" presId="urn:microsoft.com/office/officeart/2005/8/layout/funnel1"/>
    <dgm:cxn modelId="{555639C0-8E17-49C8-81F6-1D4DE53CE492}" type="presParOf" srcId="{55C57738-439E-4DCD-99F9-375ED81CBB5D}" destId="{E3FB904F-F966-4862-8FB8-EB8DF402B7C5}" srcOrd="2" destOrd="0" presId="urn:microsoft.com/office/officeart/2005/8/layout/funnel1"/>
    <dgm:cxn modelId="{033CF0CD-0E29-4B8F-83A4-74C21D039D0D}" type="presParOf" srcId="{55C57738-439E-4DCD-99F9-375ED81CBB5D}" destId="{629A3A09-CA90-4205-9430-F78BDF778733}" srcOrd="3" destOrd="0" presId="urn:microsoft.com/office/officeart/2005/8/layout/funnel1"/>
    <dgm:cxn modelId="{163FF4E1-2F83-4812-8845-817CD0F2E9BD}" type="presParOf" srcId="{55C57738-439E-4DCD-99F9-375ED81CBB5D}" destId="{02855315-77BB-42BB-8D24-66C437E5F3E7}" srcOrd="4" destOrd="0" presId="urn:microsoft.com/office/officeart/2005/8/layout/funnel1"/>
    <dgm:cxn modelId="{55BB2E17-5309-4F58-99FE-ADBC665FAD05}" type="presParOf" srcId="{55C57738-439E-4DCD-99F9-375ED81CBB5D}" destId="{A1B08B25-46CA-4545-9471-50F165ACDB76}" srcOrd="5" destOrd="0" presId="urn:microsoft.com/office/officeart/2005/8/layout/funnel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A816BFD-9913-40CF-848A-D7AF88DAD199}">
      <dsp:nvSpPr>
        <dsp:cNvPr id="0" name=""/>
        <dsp:cNvSpPr/>
      </dsp:nvSpPr>
      <dsp:spPr>
        <a:xfrm>
          <a:off x="0" y="1234239"/>
          <a:ext cx="1046389" cy="145922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Structured and systematic approach of using analytics and feedback to improve the performance of the website</a:t>
          </a:r>
          <a:endParaRPr lang="en-US" sz="1000" kern="1200" dirty="0"/>
        </a:p>
      </dsp:txBody>
      <dsp:txXfrm>
        <a:off x="30648" y="1264887"/>
        <a:ext cx="985093" cy="1397926"/>
      </dsp:txXfrm>
    </dsp:sp>
    <dsp:sp modelId="{FB73BF0B-1737-4BC4-945D-3A68C41C345E}">
      <dsp:nvSpPr>
        <dsp:cNvPr id="0" name=""/>
        <dsp:cNvSpPr/>
      </dsp:nvSpPr>
      <dsp:spPr>
        <a:xfrm>
          <a:off x="1151028" y="1834098"/>
          <a:ext cx="221834" cy="25950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>
        <a:off x="1151028" y="1885999"/>
        <a:ext cx="155284" cy="155702"/>
      </dsp:txXfrm>
    </dsp:sp>
    <dsp:sp modelId="{3837DE7D-51D8-4712-9134-AD784AC00CA3}">
      <dsp:nvSpPr>
        <dsp:cNvPr id="0" name=""/>
        <dsp:cNvSpPr/>
      </dsp:nvSpPr>
      <dsp:spPr>
        <a:xfrm>
          <a:off x="1464944" y="1234239"/>
          <a:ext cx="1046389" cy="145922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000" kern="1200" dirty="0" smtClean="0"/>
            <a:t>Performance of the website can be improved by positive movement in Key Performance Indicators (KPIs) on the site</a:t>
          </a:r>
          <a:endParaRPr lang="en-US" sz="1000" kern="1200" dirty="0"/>
        </a:p>
      </dsp:txBody>
      <dsp:txXfrm>
        <a:off x="1495592" y="1264887"/>
        <a:ext cx="985093" cy="1397926"/>
      </dsp:txXfrm>
    </dsp:sp>
    <dsp:sp modelId="{3BA03733-956C-4A6E-A372-F0012D3ED215}">
      <dsp:nvSpPr>
        <dsp:cNvPr id="0" name=""/>
        <dsp:cNvSpPr/>
      </dsp:nvSpPr>
      <dsp:spPr>
        <a:xfrm>
          <a:off x="2615973" y="1834098"/>
          <a:ext cx="221834" cy="25950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>
        <a:off x="2615973" y="1885999"/>
        <a:ext cx="155284" cy="155702"/>
      </dsp:txXfrm>
    </dsp:sp>
    <dsp:sp modelId="{F8985FCA-90B7-4779-A3C9-7C451DD3A2DF}">
      <dsp:nvSpPr>
        <dsp:cNvPr id="0" name=""/>
        <dsp:cNvSpPr/>
      </dsp:nvSpPr>
      <dsp:spPr>
        <a:xfrm>
          <a:off x="2929889" y="1234239"/>
          <a:ext cx="1046389" cy="145922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000" kern="1200" dirty="0" smtClean="0"/>
            <a:t>It can be new customer acquisition , newsletter signups, downloads, registrations etc.</a:t>
          </a:r>
          <a:endParaRPr lang="en-US" sz="1000" kern="1200" dirty="0"/>
        </a:p>
      </dsp:txBody>
      <dsp:txXfrm>
        <a:off x="2960537" y="1264887"/>
        <a:ext cx="985093" cy="1397926"/>
      </dsp:txXfrm>
    </dsp:sp>
    <dsp:sp modelId="{C56102EE-45EC-43B4-B37C-6E1A655ED477}">
      <dsp:nvSpPr>
        <dsp:cNvPr id="0" name=""/>
        <dsp:cNvSpPr/>
      </dsp:nvSpPr>
      <dsp:spPr>
        <a:xfrm>
          <a:off x="4080918" y="1834098"/>
          <a:ext cx="221834" cy="25950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>
        <a:off x="4080918" y="1885999"/>
        <a:ext cx="155284" cy="155702"/>
      </dsp:txXfrm>
    </dsp:sp>
    <dsp:sp modelId="{76A6060A-981D-451B-9BFF-D488FC5150CD}">
      <dsp:nvSpPr>
        <dsp:cNvPr id="0" name=""/>
        <dsp:cNvSpPr/>
      </dsp:nvSpPr>
      <dsp:spPr>
        <a:xfrm>
          <a:off x="4394834" y="1234239"/>
          <a:ext cx="1046389" cy="145922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000" kern="1200" dirty="0" smtClean="0"/>
            <a:t>CRO takes advantage </a:t>
          </a:r>
          <a:r>
            <a:rPr lang="en-IN" sz="1000" kern="1200" dirty="0" smtClean="0"/>
            <a:t>of the traffic that the site is already receiving and driving them to desirable behaviour</a:t>
          </a:r>
          <a:endParaRPr lang="en-US" sz="1000" kern="1200" dirty="0"/>
        </a:p>
      </dsp:txBody>
      <dsp:txXfrm>
        <a:off x="4425482" y="1264887"/>
        <a:ext cx="985093" cy="1397926"/>
      </dsp:txXfrm>
    </dsp:sp>
    <dsp:sp modelId="{F55E8673-BC90-450C-9F63-C8A1724A6C9B}">
      <dsp:nvSpPr>
        <dsp:cNvPr id="0" name=""/>
        <dsp:cNvSpPr/>
      </dsp:nvSpPr>
      <dsp:spPr>
        <a:xfrm>
          <a:off x="5545863" y="1834098"/>
          <a:ext cx="221834" cy="25950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>
        <a:off x="5545863" y="1885999"/>
        <a:ext cx="155284" cy="155702"/>
      </dsp:txXfrm>
    </dsp:sp>
    <dsp:sp modelId="{E2AF2712-37F1-48F0-8A13-056733B40551}">
      <dsp:nvSpPr>
        <dsp:cNvPr id="0" name=""/>
        <dsp:cNvSpPr/>
      </dsp:nvSpPr>
      <dsp:spPr>
        <a:xfrm>
          <a:off x="5859779" y="1234239"/>
          <a:ext cx="1046389" cy="145922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000" kern="1200" dirty="0" smtClean="0"/>
            <a:t>This results in much better return on investment for the traffic that the site is already receiving</a:t>
          </a:r>
          <a:endParaRPr lang="en-US" sz="1000" kern="1200" dirty="0"/>
        </a:p>
      </dsp:txBody>
      <dsp:txXfrm>
        <a:off x="5890427" y="1264887"/>
        <a:ext cx="985093" cy="1397926"/>
      </dsp:txXfrm>
    </dsp:sp>
    <dsp:sp modelId="{5A2B7C9F-4716-4BB6-96EF-3BE5FFD7A265}">
      <dsp:nvSpPr>
        <dsp:cNvPr id="0" name=""/>
        <dsp:cNvSpPr/>
      </dsp:nvSpPr>
      <dsp:spPr>
        <a:xfrm>
          <a:off x="7010807" y="1834098"/>
          <a:ext cx="221834" cy="25950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>
        <a:off x="7010807" y="1885999"/>
        <a:ext cx="155284" cy="155702"/>
      </dsp:txXfrm>
    </dsp:sp>
    <dsp:sp modelId="{B7928D4D-9C6C-4BDA-ADFF-0CB4B48477DB}">
      <dsp:nvSpPr>
        <dsp:cNvPr id="0" name=""/>
        <dsp:cNvSpPr/>
      </dsp:nvSpPr>
      <dsp:spPr>
        <a:xfrm>
          <a:off x="7324724" y="1234239"/>
          <a:ext cx="1046389" cy="145922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000" kern="1200" dirty="0" smtClean="0"/>
            <a:t>This is a much more cost effective process than finding more visitors</a:t>
          </a:r>
          <a:endParaRPr lang="en-US" sz="1000" kern="1200" dirty="0"/>
        </a:p>
      </dsp:txBody>
      <dsp:txXfrm>
        <a:off x="7355372" y="1264887"/>
        <a:ext cx="985093" cy="139792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CC8E4B-0237-4405-8A5B-AD1B94206C41}">
      <dsp:nvSpPr>
        <dsp:cNvPr id="0" name=""/>
        <dsp:cNvSpPr/>
      </dsp:nvSpPr>
      <dsp:spPr>
        <a:xfrm>
          <a:off x="1591" y="0"/>
          <a:ext cx="2476704" cy="35260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1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      Technology</a:t>
          </a:r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/>
        </a:p>
        <a:p>
          <a:pPr marL="57150" lvl="1" indent="-57150" algn="ctr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Find the right tool</a:t>
          </a:r>
          <a:endParaRPr lang="en-US" sz="1100" kern="1200" dirty="0"/>
        </a:p>
        <a:p>
          <a:pPr marL="57150" lvl="1" indent="-57150" algn="ctr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100" kern="1200" dirty="0"/>
        </a:p>
        <a:p>
          <a:pPr marL="57150" lvl="1" indent="-57150" algn="ctr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Most tools are JS based and are browser-side</a:t>
          </a:r>
          <a:endParaRPr lang="en-US" sz="1100" kern="1200" dirty="0"/>
        </a:p>
      </dsp:txBody>
      <dsp:txXfrm>
        <a:off x="1591" y="1410425"/>
        <a:ext cx="2476704" cy="1410425"/>
      </dsp:txXfrm>
    </dsp:sp>
    <dsp:sp modelId="{742D21A5-6E57-4F8C-9544-0CC285911386}">
      <dsp:nvSpPr>
        <dsp:cNvPr id="0" name=""/>
        <dsp:cNvSpPr/>
      </dsp:nvSpPr>
      <dsp:spPr>
        <a:xfrm>
          <a:off x="652854" y="211563"/>
          <a:ext cx="1174179" cy="1174179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93667A2-7737-450C-B83F-5F925ED25EDD}">
      <dsp:nvSpPr>
        <dsp:cNvPr id="0" name=""/>
        <dsp:cNvSpPr/>
      </dsp:nvSpPr>
      <dsp:spPr>
        <a:xfrm>
          <a:off x="2552597" y="0"/>
          <a:ext cx="2476704" cy="35260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1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People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/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CRO</a:t>
          </a:r>
          <a:endParaRPr lang="en-US" sz="1100" kern="1200" dirty="0"/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100" kern="1200" dirty="0"/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Design</a:t>
          </a:r>
          <a:endParaRPr lang="en-US" sz="1100" kern="1200" dirty="0"/>
        </a:p>
      </dsp:txBody>
      <dsp:txXfrm>
        <a:off x="2552597" y="1410425"/>
        <a:ext cx="2476704" cy="1410425"/>
      </dsp:txXfrm>
    </dsp:sp>
    <dsp:sp modelId="{41E395C6-8B83-435A-9307-AE706817436F}">
      <dsp:nvSpPr>
        <dsp:cNvPr id="0" name=""/>
        <dsp:cNvSpPr/>
      </dsp:nvSpPr>
      <dsp:spPr>
        <a:xfrm>
          <a:off x="3203860" y="211563"/>
          <a:ext cx="1174179" cy="1174179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83EB37D-EB54-4275-AF0E-8A01F25664B7}">
      <dsp:nvSpPr>
        <dsp:cNvPr id="0" name=""/>
        <dsp:cNvSpPr/>
      </dsp:nvSpPr>
      <dsp:spPr>
        <a:xfrm>
          <a:off x="5103603" y="0"/>
          <a:ext cx="2476704" cy="35260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1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      Process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/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Coherent strategy</a:t>
          </a:r>
          <a:endParaRPr lang="en-US" sz="1100" kern="1200" dirty="0"/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100" kern="1200" dirty="0"/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Clear tactics / plan</a:t>
          </a:r>
          <a:endParaRPr lang="en-US" sz="1100" kern="1200" dirty="0"/>
        </a:p>
      </dsp:txBody>
      <dsp:txXfrm>
        <a:off x="5103603" y="1410425"/>
        <a:ext cx="2476704" cy="1410425"/>
      </dsp:txXfrm>
    </dsp:sp>
    <dsp:sp modelId="{9DA72E8E-909F-48F5-AF82-7E0B52E98707}">
      <dsp:nvSpPr>
        <dsp:cNvPr id="0" name=""/>
        <dsp:cNvSpPr/>
      </dsp:nvSpPr>
      <dsp:spPr>
        <a:xfrm>
          <a:off x="5754866" y="211563"/>
          <a:ext cx="1174179" cy="1174179"/>
        </a:xfrm>
        <a:prstGeom prst="ellipse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42F3040-D302-492D-B8B3-5CB268AE07F2}">
      <dsp:nvSpPr>
        <dsp:cNvPr id="0" name=""/>
        <dsp:cNvSpPr/>
      </dsp:nvSpPr>
      <dsp:spPr>
        <a:xfrm>
          <a:off x="1403044" y="2820851"/>
          <a:ext cx="4775811" cy="528909"/>
        </a:xfrm>
        <a:prstGeom prst="leftRight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5FE864-91D1-4BB2-B9BE-A8CC50F96578}">
      <dsp:nvSpPr>
        <dsp:cNvPr id="0" name=""/>
        <dsp:cNvSpPr/>
      </dsp:nvSpPr>
      <dsp:spPr>
        <a:xfrm>
          <a:off x="95239" y="2889"/>
          <a:ext cx="3417902" cy="2551392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106680" rIns="35560" bIns="35560" numCol="1" spcCol="1270" anchor="t" anchorCtr="0">
          <a:noAutofit/>
        </a:bodyPr>
        <a:lstStyle/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800" kern="1200" dirty="0" smtClean="0"/>
            <a:t>professional CRO (conversion rate optimization) expert consulting</a:t>
          </a:r>
          <a:endParaRPr lang="en-US" sz="2800" kern="1200" dirty="0"/>
        </a:p>
      </dsp:txBody>
      <dsp:txXfrm>
        <a:off x="155021" y="62671"/>
        <a:ext cx="3298338" cy="2491610"/>
      </dsp:txXfrm>
    </dsp:sp>
    <dsp:sp modelId="{669669DF-3902-4787-A68D-68488F6891D6}">
      <dsp:nvSpPr>
        <dsp:cNvPr id="0" name=""/>
        <dsp:cNvSpPr/>
      </dsp:nvSpPr>
      <dsp:spPr>
        <a:xfrm>
          <a:off x="95239" y="2554282"/>
          <a:ext cx="3417902" cy="109709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0" rIns="50800" bIns="0" numCol="1" spcCol="1270" anchor="ctr" anchorCtr="0">
          <a:noAutofit/>
        </a:bodyPr>
        <a:lstStyle/>
        <a:p>
          <a:pPr lvl="0" algn="l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000" kern="1200" dirty="0" smtClean="0"/>
            <a:t>Services </a:t>
          </a:r>
          <a:endParaRPr lang="en-US" sz="4000" kern="1200" dirty="0"/>
        </a:p>
      </dsp:txBody>
      <dsp:txXfrm>
        <a:off x="95239" y="2554282"/>
        <a:ext cx="2406973" cy="1097098"/>
      </dsp:txXfrm>
    </dsp:sp>
    <dsp:sp modelId="{BFE4FCA4-3004-4C5B-84EE-CA4F0D9A4AFF}">
      <dsp:nvSpPr>
        <dsp:cNvPr id="0" name=""/>
        <dsp:cNvSpPr/>
      </dsp:nvSpPr>
      <dsp:spPr>
        <a:xfrm>
          <a:off x="2598900" y="2728546"/>
          <a:ext cx="1196265" cy="1196265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2CF0F19-CF0E-48CD-AE1C-60A28CC84BC2}">
      <dsp:nvSpPr>
        <dsp:cNvPr id="0" name=""/>
        <dsp:cNvSpPr/>
      </dsp:nvSpPr>
      <dsp:spPr>
        <a:xfrm>
          <a:off x="4091533" y="2889"/>
          <a:ext cx="3417902" cy="2551392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106680" rIns="35560" bIns="35560" numCol="1" spcCol="1270" anchor="t" anchorCtr="0">
          <a:noAutofit/>
        </a:bodyPr>
        <a:lstStyle/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800" kern="1200" smtClean="0"/>
            <a:t>Optimize</a:t>
          </a:r>
          <a:endParaRPr lang="en-US" sz="2800" kern="1200"/>
        </a:p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800" kern="1200" smtClean="0"/>
            <a:t>Maximizer</a:t>
          </a:r>
          <a:endParaRPr lang="en-US" sz="2800" kern="1200"/>
        </a:p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800" kern="1200" dirty="0" smtClean="0"/>
            <a:t>Test and target</a:t>
          </a:r>
          <a:endParaRPr lang="en-US" sz="2800" kern="1200" dirty="0"/>
        </a:p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800" kern="1200" dirty="0" smtClean="0"/>
            <a:t>VWO</a:t>
          </a:r>
          <a:endParaRPr lang="en-US" sz="2800" kern="1200" dirty="0"/>
        </a:p>
      </dsp:txBody>
      <dsp:txXfrm>
        <a:off x="4151315" y="62671"/>
        <a:ext cx="3298338" cy="2491610"/>
      </dsp:txXfrm>
    </dsp:sp>
    <dsp:sp modelId="{9C7E1ACB-F6CB-40DC-B6FF-2AB2F9F6A198}">
      <dsp:nvSpPr>
        <dsp:cNvPr id="0" name=""/>
        <dsp:cNvSpPr/>
      </dsp:nvSpPr>
      <dsp:spPr>
        <a:xfrm>
          <a:off x="4091533" y="2554282"/>
          <a:ext cx="3417902" cy="109709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0" rIns="50800" bIns="0" numCol="1" spcCol="1270" anchor="ctr" anchorCtr="0">
          <a:noAutofit/>
        </a:bodyPr>
        <a:lstStyle/>
        <a:p>
          <a:pPr lvl="0" algn="l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000" u="none" kern="1200" dirty="0" smtClean="0"/>
            <a:t>Tools</a:t>
          </a:r>
          <a:endParaRPr lang="en-US" sz="4000" u="none" kern="1200" dirty="0"/>
        </a:p>
      </dsp:txBody>
      <dsp:txXfrm>
        <a:off x="4091533" y="2554282"/>
        <a:ext cx="2406973" cy="1097098"/>
      </dsp:txXfrm>
    </dsp:sp>
    <dsp:sp modelId="{4EBBE320-4895-4FDA-B536-459F0AEC21D4}">
      <dsp:nvSpPr>
        <dsp:cNvPr id="0" name=""/>
        <dsp:cNvSpPr/>
      </dsp:nvSpPr>
      <dsp:spPr>
        <a:xfrm>
          <a:off x="6595194" y="2728546"/>
          <a:ext cx="1196265" cy="1196265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D68D98-904C-4E8F-980B-54BAA2370C0F}">
      <dsp:nvSpPr>
        <dsp:cNvPr id="0" name=""/>
        <dsp:cNvSpPr/>
      </dsp:nvSpPr>
      <dsp:spPr>
        <a:xfrm>
          <a:off x="3565544" y="1380"/>
          <a:ext cx="904382" cy="90438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Gather data, onsite and competitor, &amp; sort through the noise</a:t>
          </a:r>
          <a:endParaRPr lang="en-US" sz="800" kern="1200" dirty="0"/>
        </a:p>
      </dsp:txBody>
      <dsp:txXfrm>
        <a:off x="3697988" y="133824"/>
        <a:ext cx="639494" cy="639494"/>
      </dsp:txXfrm>
    </dsp:sp>
    <dsp:sp modelId="{FA5012CC-29A2-4497-A90F-43C58DF413A5}">
      <dsp:nvSpPr>
        <dsp:cNvPr id="0" name=""/>
        <dsp:cNvSpPr/>
      </dsp:nvSpPr>
      <dsp:spPr>
        <a:xfrm rot="1542857">
          <a:off x="4502949" y="592360"/>
          <a:ext cx="239783" cy="30522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/>
        </a:p>
      </dsp:txBody>
      <dsp:txXfrm>
        <a:off x="4506511" y="637800"/>
        <a:ext cx="167848" cy="183137"/>
      </dsp:txXfrm>
    </dsp:sp>
    <dsp:sp modelId="{F8779781-4039-4326-81FB-D05FC5EF8B44}">
      <dsp:nvSpPr>
        <dsp:cNvPr id="0" name=""/>
        <dsp:cNvSpPr/>
      </dsp:nvSpPr>
      <dsp:spPr>
        <a:xfrm>
          <a:off x="4787983" y="590076"/>
          <a:ext cx="904382" cy="90438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Identify personas, value propositions, key page/s</a:t>
          </a:r>
          <a:endParaRPr lang="en-US" sz="800" kern="1200" dirty="0"/>
        </a:p>
      </dsp:txBody>
      <dsp:txXfrm>
        <a:off x="4920427" y="722520"/>
        <a:ext cx="639494" cy="639494"/>
      </dsp:txXfrm>
    </dsp:sp>
    <dsp:sp modelId="{581EB1EB-EF56-4D09-B977-97E6544E8628}">
      <dsp:nvSpPr>
        <dsp:cNvPr id="0" name=""/>
        <dsp:cNvSpPr/>
      </dsp:nvSpPr>
      <dsp:spPr>
        <a:xfrm rot="4518287">
          <a:off x="5281892" y="1568261"/>
          <a:ext cx="272502" cy="30522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/>
        </a:p>
      </dsp:txBody>
      <dsp:txXfrm>
        <a:off x="5312398" y="1589769"/>
        <a:ext cx="190751" cy="183137"/>
      </dsp:txXfrm>
    </dsp:sp>
    <dsp:sp modelId="{F3BBBAAF-06D0-4124-A4FD-1D4F511162BE}">
      <dsp:nvSpPr>
        <dsp:cNvPr id="0" name=""/>
        <dsp:cNvSpPr/>
      </dsp:nvSpPr>
      <dsp:spPr>
        <a:xfrm>
          <a:off x="5147834" y="1962213"/>
          <a:ext cx="904382" cy="90438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Establish Macro &amp; Micro KPI’s</a:t>
          </a:r>
          <a:endParaRPr lang="en-US" sz="800" kern="1200" dirty="0"/>
        </a:p>
      </dsp:txBody>
      <dsp:txXfrm>
        <a:off x="5280278" y="2094657"/>
        <a:ext cx="639494" cy="639494"/>
      </dsp:txXfrm>
    </dsp:sp>
    <dsp:sp modelId="{C7C64512-1F27-4076-9238-24307DB157E6}">
      <dsp:nvSpPr>
        <dsp:cNvPr id="0" name=""/>
        <dsp:cNvSpPr/>
      </dsp:nvSpPr>
      <dsp:spPr>
        <a:xfrm rot="7907157">
          <a:off x="5032796" y="2762454"/>
          <a:ext cx="239609" cy="30522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/>
        </a:p>
      </dsp:txBody>
      <dsp:txXfrm rot="10800000">
        <a:off x="5092687" y="2796701"/>
        <a:ext cx="167726" cy="183137"/>
      </dsp:txXfrm>
    </dsp:sp>
    <dsp:sp modelId="{3F32806C-ECD6-43D2-BE33-7E3EA2B1C10C}">
      <dsp:nvSpPr>
        <dsp:cNvPr id="0" name=""/>
        <dsp:cNvSpPr/>
      </dsp:nvSpPr>
      <dsp:spPr>
        <a:xfrm>
          <a:off x="4243946" y="2973655"/>
          <a:ext cx="904382" cy="90438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Roadmap</a:t>
          </a:r>
          <a:endParaRPr lang="en-US" sz="800" kern="1200" dirty="0"/>
        </a:p>
      </dsp:txBody>
      <dsp:txXfrm>
        <a:off x="4376390" y="3106099"/>
        <a:ext cx="639494" cy="639494"/>
      </dsp:txXfrm>
    </dsp:sp>
    <dsp:sp modelId="{13680D2F-3E32-47F8-8CC0-688C0EADAD36}">
      <dsp:nvSpPr>
        <dsp:cNvPr id="0" name=""/>
        <dsp:cNvSpPr/>
      </dsp:nvSpPr>
      <dsp:spPr>
        <a:xfrm rot="10800000">
          <a:off x="3904630" y="3273232"/>
          <a:ext cx="239783" cy="30522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/>
        </a:p>
      </dsp:txBody>
      <dsp:txXfrm rot="10800000">
        <a:off x="3976565" y="3334278"/>
        <a:ext cx="167848" cy="183137"/>
      </dsp:txXfrm>
    </dsp:sp>
    <dsp:sp modelId="{D227DA62-9967-49F8-8886-D8FFA9ABEDCD}">
      <dsp:nvSpPr>
        <dsp:cNvPr id="0" name=""/>
        <dsp:cNvSpPr/>
      </dsp:nvSpPr>
      <dsp:spPr>
        <a:xfrm>
          <a:off x="2887142" y="2973655"/>
          <a:ext cx="904382" cy="90438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Test Plan</a:t>
          </a:r>
          <a:endParaRPr lang="en-US" sz="800" kern="1200" dirty="0"/>
        </a:p>
      </dsp:txBody>
      <dsp:txXfrm>
        <a:off x="3019586" y="3106099"/>
        <a:ext cx="639494" cy="639494"/>
      </dsp:txXfrm>
    </dsp:sp>
    <dsp:sp modelId="{290562A8-8284-485A-9AE0-5AFA6693D0CA}">
      <dsp:nvSpPr>
        <dsp:cNvPr id="0" name=""/>
        <dsp:cNvSpPr/>
      </dsp:nvSpPr>
      <dsp:spPr>
        <a:xfrm rot="13885714">
          <a:off x="2800696" y="2748141"/>
          <a:ext cx="239783" cy="30522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/>
        </a:p>
      </dsp:txBody>
      <dsp:txXfrm rot="10800000">
        <a:off x="2859089" y="2837308"/>
        <a:ext cx="167848" cy="183137"/>
      </dsp:txXfrm>
    </dsp:sp>
    <dsp:sp modelId="{97F1A40F-A9AE-4715-A2A7-CDCB72A3E4E6}">
      <dsp:nvSpPr>
        <dsp:cNvPr id="0" name=""/>
        <dsp:cNvSpPr/>
      </dsp:nvSpPr>
      <dsp:spPr>
        <a:xfrm>
          <a:off x="2041188" y="1912862"/>
          <a:ext cx="904382" cy="90438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Execute - get quick wins &amp; build momentum</a:t>
          </a:r>
          <a:endParaRPr lang="en-US" sz="800" kern="1200" dirty="0"/>
        </a:p>
      </dsp:txBody>
      <dsp:txXfrm>
        <a:off x="2173632" y="2045306"/>
        <a:ext cx="639494" cy="639494"/>
      </dsp:txXfrm>
    </dsp:sp>
    <dsp:sp modelId="{18498085-9489-417B-88E2-7DFB1C3BDD14}">
      <dsp:nvSpPr>
        <dsp:cNvPr id="0" name=""/>
        <dsp:cNvSpPr/>
      </dsp:nvSpPr>
      <dsp:spPr>
        <a:xfrm rot="16971429">
          <a:off x="2522936" y="1557662"/>
          <a:ext cx="239783" cy="30522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/>
        </a:p>
      </dsp:txBody>
      <dsp:txXfrm>
        <a:off x="2550900" y="1653774"/>
        <a:ext cx="167848" cy="183137"/>
      </dsp:txXfrm>
    </dsp:sp>
    <dsp:sp modelId="{8D75D446-88ED-4C1F-8D27-E528BE2A3DDC}">
      <dsp:nvSpPr>
        <dsp:cNvPr id="0" name=""/>
        <dsp:cNvSpPr/>
      </dsp:nvSpPr>
      <dsp:spPr>
        <a:xfrm>
          <a:off x="2343105" y="590076"/>
          <a:ext cx="904382" cy="90438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Iterate</a:t>
          </a:r>
          <a:endParaRPr lang="en-US" sz="800" kern="1200" dirty="0"/>
        </a:p>
      </dsp:txBody>
      <dsp:txXfrm>
        <a:off x="2475549" y="722520"/>
        <a:ext cx="639494" cy="639494"/>
      </dsp:txXfrm>
    </dsp:sp>
    <dsp:sp modelId="{7AE64E8A-D6DC-4FDB-A144-44C2090EFA4B}">
      <dsp:nvSpPr>
        <dsp:cNvPr id="0" name=""/>
        <dsp:cNvSpPr/>
      </dsp:nvSpPr>
      <dsp:spPr>
        <a:xfrm rot="20057143">
          <a:off x="3280510" y="598249"/>
          <a:ext cx="239783" cy="30522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/>
        </a:p>
      </dsp:txBody>
      <dsp:txXfrm>
        <a:off x="3284072" y="674901"/>
        <a:ext cx="167848" cy="18313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487B9E-C049-4C74-A579-7EA0E883529B}">
      <dsp:nvSpPr>
        <dsp:cNvPr id="0" name=""/>
        <dsp:cNvSpPr/>
      </dsp:nvSpPr>
      <dsp:spPr>
        <a:xfrm>
          <a:off x="643792" y="83355"/>
          <a:ext cx="1654279" cy="574509"/>
        </a:xfrm>
        <a:prstGeom prst="ellipse">
          <a:avLst/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D993666-EB61-4472-8B7F-02FB1ECE8A6D}">
      <dsp:nvSpPr>
        <dsp:cNvPr id="0" name=""/>
        <dsp:cNvSpPr/>
      </dsp:nvSpPr>
      <dsp:spPr>
        <a:xfrm>
          <a:off x="1313199" y="1490134"/>
          <a:ext cx="320596" cy="205182"/>
        </a:xfrm>
        <a:prstGeom prst="down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E3FB904F-F966-4862-8FB8-EB8DF402B7C5}">
      <dsp:nvSpPr>
        <dsp:cNvPr id="0" name=""/>
        <dsp:cNvSpPr/>
      </dsp:nvSpPr>
      <dsp:spPr>
        <a:xfrm>
          <a:off x="704065" y="1654279"/>
          <a:ext cx="1538865" cy="3847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Win </a:t>
          </a:r>
          <a:endParaRPr lang="en-US" sz="1400" kern="1200" dirty="0"/>
        </a:p>
      </dsp:txBody>
      <dsp:txXfrm>
        <a:off x="704065" y="1654279"/>
        <a:ext cx="1538865" cy="384716"/>
      </dsp:txXfrm>
    </dsp:sp>
    <dsp:sp modelId="{629A3A09-CA90-4205-9430-F78BDF778733}">
      <dsp:nvSpPr>
        <dsp:cNvPr id="0" name=""/>
        <dsp:cNvSpPr/>
      </dsp:nvSpPr>
      <dsp:spPr>
        <a:xfrm>
          <a:off x="1245232" y="702235"/>
          <a:ext cx="577074" cy="57707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Quality Lead</a:t>
          </a:r>
          <a:endParaRPr lang="en-US" sz="900" kern="1200" dirty="0"/>
        </a:p>
      </dsp:txBody>
      <dsp:txXfrm>
        <a:off x="1329743" y="786746"/>
        <a:ext cx="408052" cy="408052"/>
      </dsp:txXfrm>
    </dsp:sp>
    <dsp:sp modelId="{02855315-77BB-42BB-8D24-66C437E5F3E7}">
      <dsp:nvSpPr>
        <dsp:cNvPr id="0" name=""/>
        <dsp:cNvSpPr/>
      </dsp:nvSpPr>
      <dsp:spPr>
        <a:xfrm>
          <a:off x="996218" y="20694"/>
          <a:ext cx="624354" cy="71916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Inquiry</a:t>
          </a:r>
          <a:endParaRPr lang="en-US" sz="900" kern="1200" dirty="0"/>
        </a:p>
      </dsp:txBody>
      <dsp:txXfrm>
        <a:off x="1087653" y="126014"/>
        <a:ext cx="441484" cy="508527"/>
      </dsp:txXfrm>
    </dsp:sp>
    <dsp:sp modelId="{A1B08B25-46CA-4545-9471-50F165ACDB76}">
      <dsp:nvSpPr>
        <dsp:cNvPr id="0" name=""/>
        <dsp:cNvSpPr/>
      </dsp:nvSpPr>
      <dsp:spPr>
        <a:xfrm>
          <a:off x="575826" y="12823"/>
          <a:ext cx="1795342" cy="1436274"/>
        </a:xfrm>
        <a:prstGeom prst="funnel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bList2">
  <dgm:title val=""/>
  <dgm:desc val=""/>
  <dgm:catLst>
    <dgm:cat type="list" pri="7000"/>
    <dgm:cat type="convert" pri="16000"/>
    <dgm:cat type="picture" pri="28000"/>
    <dgm:cat type="pictureconvert" pri="2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678B55-319B-2D4F-AE49-6C1B6E1A4DDA}" type="datetimeFigureOut">
              <a:rPr lang="en-US" smtClean="0">
                <a:latin typeface="HP Simplified"/>
                <a:cs typeface="HP Simplified"/>
              </a:rPr>
              <a:pPr/>
              <a:t>10/2/2015</a:t>
            </a:fld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B27340-60F0-7D46-BC5B-91B08A318A82}" type="slidenum">
              <a:rPr lang="en-GB" smtClean="0">
                <a:latin typeface="HP Simplified"/>
                <a:cs typeface="HP Simplified"/>
              </a:rPr>
              <a:pPr/>
              <a:t>‹#›</a:t>
            </a:fld>
            <a:endParaRPr lang="en-GB" dirty="0"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49321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D9CAF8C-0805-8440-B43D-DCCAAA4D80CE}" type="datetimeFigureOut">
              <a:rPr lang="en-US" smtClean="0"/>
              <a:pPr/>
              <a:t>10/2/201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2A853E8-D85F-5D49-95D2-E1D96ABFE2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8079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65138"/>
            <a:ext cx="3178175" cy="1787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5159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23072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4892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98515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bg1"/>
                </a:solidFill>
                <a:latin typeface="HP Simplified"/>
                <a:cs typeface="HP Simplified"/>
              </a:rPr>
              <a:t>© Copyright 2012 Hewlett-Packard Development Company, L.P. </a:t>
            </a:r>
            <a:r>
              <a:rPr lang="en-US" sz="700" b="0" i="0" baseline="0" dirty="0" smtClean="0">
                <a:solidFill>
                  <a:schemeClr val="bg1"/>
                </a:solidFill>
                <a:latin typeface="HP Simplified"/>
                <a:cs typeface="HP Simplified"/>
              </a:rPr>
              <a:t> </a:t>
            </a:r>
            <a:r>
              <a:rPr lang="en-US" sz="700" b="0" i="0" dirty="0" smtClean="0">
                <a:solidFill>
                  <a:schemeClr val="bg1"/>
                </a:solidFill>
                <a:latin typeface="HP Simplified"/>
                <a:cs typeface="HP Simplified"/>
              </a:rPr>
              <a:t>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015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accent5"/>
                </a:solidFill>
                <a:latin typeface="HP Simplified"/>
                <a:cs typeface="HP Simplified"/>
              </a:rPr>
              <a:t>© Copyright 2012 Hewlett-Packard Development Company, L.P. </a:t>
            </a:r>
            <a:r>
              <a:rPr lang="en-US" sz="700" b="0" i="0" baseline="0" dirty="0" smtClean="0">
                <a:solidFill>
                  <a:schemeClr val="accent5"/>
                </a:solidFill>
                <a:latin typeface="HP Simplified"/>
                <a:cs typeface="HP Simplified"/>
              </a:rPr>
              <a:t> </a:t>
            </a:r>
            <a:r>
              <a:rPr lang="en-US" sz="700" b="0" i="0" dirty="0" smtClean="0">
                <a:solidFill>
                  <a:schemeClr val="accent5"/>
                </a:solidFill>
                <a:latin typeface="HP Simplified"/>
                <a:cs typeface="HP Simplified"/>
              </a:rPr>
              <a:t>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369855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659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6823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088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1850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6406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8756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7169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47614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78604" y="4954762"/>
            <a:ext cx="7553021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sz="700" b="1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dirty="0">
                <a:solidFill>
                  <a:prstClr val="black"/>
                </a:solidFill>
              </a:rPr>
              <a:t>NOTE: All numbers exclude US Hyperscale (Tier 1 Service Providers); Partner counts based on number of partner entities (a single distributor or reseller may have multiple entities across countries)</a:t>
            </a:r>
          </a:p>
        </p:txBody>
      </p:sp>
    </p:spTree>
    <p:extLst>
      <p:ext uri="{BB962C8B-B14F-4D97-AF65-F5344CB8AC3E}">
        <p14:creationId xmlns:p14="http://schemas.microsoft.com/office/powerpoint/2010/main" val="8294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bg1"/>
                </a:solidFill>
                <a:latin typeface="HP Simplified"/>
                <a:cs typeface="HP Simplified"/>
              </a:rPr>
              <a:t>© Copyright 2012 Hewlett-Packard Development Company, L.P. </a:t>
            </a:r>
            <a:r>
              <a:rPr lang="en-US" sz="700" b="0" i="0" baseline="0" dirty="0" smtClean="0">
                <a:solidFill>
                  <a:schemeClr val="bg1"/>
                </a:solidFill>
                <a:latin typeface="HP Simplified"/>
                <a:cs typeface="HP Simplified"/>
              </a:rPr>
              <a:t> </a:t>
            </a:r>
            <a:r>
              <a:rPr lang="en-US" sz="700" b="0" i="0" dirty="0" smtClean="0">
                <a:solidFill>
                  <a:schemeClr val="bg1"/>
                </a:solidFill>
                <a:latin typeface="HP Simplified"/>
                <a:cs typeface="HP Simplified"/>
              </a:rPr>
              <a:t>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8388" y="4621213"/>
            <a:ext cx="365125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8"/>
          <p:cNvSpPr txBox="1">
            <a:spLocks noChangeArrowheads="1"/>
          </p:cNvSpPr>
          <p:nvPr userDrawn="1"/>
        </p:nvSpPr>
        <p:spPr bwMode="auto">
          <a:xfrm>
            <a:off x="328613" y="4759325"/>
            <a:ext cx="80137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/>
          <a:lstStyle>
            <a:lvl1pPr>
              <a:defRPr>
                <a:solidFill>
                  <a:schemeClr val="tx1"/>
                </a:solidFill>
                <a:latin typeface="HP Simplifie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P Simplifie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P Simplifie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P Simplifie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P Simplified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pitchFamily="34" charset="0"/>
              </a:defRPr>
            </a:lvl9pPr>
          </a:lstStyle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ea typeface="HP Simplified" pitchFamily="34" charset="0"/>
                <a:cs typeface="HP Simplified" pitchFamily="34" charset="0"/>
              </a:rPr>
              <a:t>© Copyright 2014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53586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204111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976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5925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3041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64974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8909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82264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2996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0158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562356"/>
            <a:ext cx="4019316" cy="37702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4" y="270149"/>
            <a:ext cx="4013649" cy="777136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197186" y="1309879"/>
            <a:ext cx="5537932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Futura Hv"/>
                <a:cs typeface="Futura Hv"/>
              </a:defRPr>
            </a:lvl1pPr>
            <a:lvl2pPr marL="0" indent="0">
              <a:buNone/>
              <a:defRPr/>
            </a:lvl2pPr>
            <a:lvl3pPr marL="165600" indent="-165600">
              <a:buFont typeface="Lucida Grande"/>
              <a:buChar char="•"/>
              <a:defRPr sz="1800"/>
            </a:lvl3pPr>
            <a:lvl4pPr marL="298800" indent="-126000">
              <a:buSzPct val="100000"/>
              <a:buFont typeface="Lucida Grande"/>
              <a:buChar char="–"/>
              <a:defRPr/>
            </a:lvl4pPr>
            <a:lvl5pPr marL="410400" indent="-122400">
              <a:buSzPct val="80000"/>
              <a:buFont typeface="Courier New"/>
              <a:buChar char="o"/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0203" y="1309879"/>
            <a:ext cx="2542125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Futura Hv"/>
                <a:cs typeface="Futura Hv"/>
              </a:defRPr>
            </a:lvl1pPr>
            <a:lvl2pPr marL="0" indent="0">
              <a:buNone/>
              <a:defRPr>
                <a:latin typeface="Futura Hv"/>
                <a:cs typeface="Futura Hv"/>
              </a:defRPr>
            </a:lvl2pPr>
            <a:lvl3pPr marL="165600" indent="-165600">
              <a:buFont typeface="Lucida Grande"/>
              <a:buChar char="•"/>
              <a:defRPr sz="1800"/>
            </a:lvl3pPr>
            <a:lvl4pPr marL="298800" indent="-126000">
              <a:buSzPct val="100000"/>
              <a:buFont typeface="Lucida Grande"/>
              <a:buChar char="–"/>
              <a:defRPr/>
            </a:lvl4pPr>
            <a:lvl5pPr marL="410400" indent="-122400">
              <a:buSzPct val="80000"/>
              <a:buFont typeface="Courier New"/>
              <a:buChar char="o"/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4746601"/>
            <a:ext cx="182186" cy="12482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/>
              <a:pPr marL="190800" indent="-190800">
                <a:lnSpc>
                  <a:spcPts val="1000"/>
                </a:lnSpc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5675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2.pn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3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11660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20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rgbClr val="B9B8BB"/>
                </a:solidFill>
                <a:latin typeface="HP Simplified"/>
                <a:cs typeface="HP Simplified"/>
              </a:rPr>
              <a:t>© Copyright 2012 Hewlett-Packard Development Company, L.P. </a:t>
            </a:r>
            <a:r>
              <a:rPr lang="en-US" sz="700" b="0" i="0" baseline="0" dirty="0" smtClean="0">
                <a:solidFill>
                  <a:srgbClr val="B9B8BB"/>
                </a:solidFill>
                <a:latin typeface="HP Simplified"/>
                <a:cs typeface="HP Simplified"/>
              </a:rPr>
              <a:t> </a:t>
            </a:r>
            <a:r>
              <a:rPr lang="en-US" sz="700" b="0" i="0" dirty="0" smtClean="0">
                <a:solidFill>
                  <a:srgbClr val="B9B8BB"/>
                </a:solidFill>
                <a:latin typeface="HP Simplified"/>
                <a:cs typeface="HP Simplified"/>
              </a:rPr>
              <a:t>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marL="0" algn="l" defTabSz="914400" rtl="0" eaLnBrk="1" latinLnBrk="0" hangingPunct="1"/>
            <a:fld id="{6C5AF65D-6854-49AF-ABC5-48B5BA0EA842}" type="slidenum">
              <a:rPr lang="en-US" sz="700" b="0" i="0" kern="1200" smtClean="0">
                <a:solidFill>
                  <a:srgbClr val="B9B8BB"/>
                </a:solidFill>
                <a:latin typeface="HP Simplified"/>
                <a:ea typeface="+mn-ea"/>
                <a:cs typeface="HP Simplified"/>
              </a:rPr>
              <a:pPr marL="0" algn="l" defTabSz="914400" rtl="0" eaLnBrk="1" latinLnBrk="0" hangingPunct="1"/>
              <a:t>‹#›</a:t>
            </a:fld>
            <a:endParaRPr lang="en-US" sz="700" b="0" i="0" kern="1200" dirty="0" smtClean="0">
              <a:solidFill>
                <a:srgbClr val="B9B8BB"/>
              </a:solidFill>
              <a:latin typeface="HP Simplified"/>
              <a:ea typeface="+mn-ea"/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4" r:id="rId2"/>
    <p:sldLayoutId id="2147483833" r:id="rId3"/>
    <p:sldLayoutId id="2147483837" r:id="rId4"/>
    <p:sldLayoutId id="2147483809" r:id="rId5"/>
    <p:sldLayoutId id="2147483838" r:id="rId6"/>
    <p:sldLayoutId id="2147483823" r:id="rId7"/>
    <p:sldLayoutId id="2147483824" r:id="rId8"/>
    <p:sldLayoutId id="2147483825" r:id="rId9"/>
    <p:sldLayoutId id="214748389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5807181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62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40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42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78305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63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18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jp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3" Type="http://schemas.openxmlformats.org/officeDocument/2006/relationships/image" Target="../media/image23.png"/><Relationship Id="rId7" Type="http://schemas.openxmlformats.org/officeDocument/2006/relationships/diagramLayout" Target="../diagrams/layout5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Relationship Id="rId6" Type="http://schemas.openxmlformats.org/officeDocument/2006/relationships/diagramData" Target="../diagrams/data5.xml"/><Relationship Id="rId5" Type="http://schemas.openxmlformats.org/officeDocument/2006/relationships/image" Target="../media/image25.png"/><Relationship Id="rId10" Type="http://schemas.microsoft.com/office/2007/relationships/diagramDrawing" Target="../diagrams/drawing5.xml"/><Relationship Id="rId4" Type="http://schemas.openxmlformats.org/officeDocument/2006/relationships/image" Target="../media/image24.png"/><Relationship Id="rId9" Type="http://schemas.openxmlformats.org/officeDocument/2006/relationships/diagramColors" Target="../diagrams/colors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8.png"/><Relationship Id="rId4" Type="http://schemas.openxmlformats.org/officeDocument/2006/relationships/image" Target="../media/image27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75" y="-1787"/>
            <a:ext cx="9147175" cy="5145287"/>
          </a:xfrm>
          <a:prstGeom prst="rect">
            <a:avLst/>
          </a:prstGeom>
        </p:spPr>
      </p:pic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5513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7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AutoShape 326"/>
          <p:cNvSpPr>
            <a:spLocks noChangeAspect="1" noChangeArrowheads="1" noTextEdit="1"/>
          </p:cNvSpPr>
          <p:nvPr/>
        </p:nvSpPr>
        <p:spPr bwMode="auto">
          <a:xfrm>
            <a:off x="1333520" y="0"/>
            <a:ext cx="3801033" cy="475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prstClr val="black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583843" y="4524931"/>
            <a:ext cx="796996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latin typeface="Calibri" panose="020F0502020204030204" pitchFamily="34" charset="0"/>
              </a:rPr>
              <a:t/>
            </a:r>
            <a:br>
              <a:rPr lang="en-US" sz="1400" b="1" dirty="0" smtClean="0">
                <a:latin typeface="Calibri" panose="020F0502020204030204" pitchFamily="34" charset="0"/>
              </a:rPr>
            </a:br>
            <a:r>
              <a:rPr lang="en-US" sz="1400" b="1" dirty="0" smtClean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resenter – </a:t>
            </a:r>
            <a:r>
              <a:rPr lang="en-US" sz="1400" b="1" dirty="0"/>
              <a:t> Ashish Agrawal </a:t>
            </a:r>
            <a:r>
              <a:rPr lang="en-US" sz="1400" b="1" dirty="0"/>
              <a:t/>
            </a:r>
            <a:br>
              <a:rPr lang="en-US" sz="1400" b="1" dirty="0"/>
            </a:br>
            <a:endParaRPr lang="en-IN" sz="1400" b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3422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/>
          <p:cNvSpPr txBox="1">
            <a:spLocks/>
          </p:cNvSpPr>
          <p:nvPr/>
        </p:nvSpPr>
        <p:spPr>
          <a:xfrm>
            <a:off x="182562" y="81240"/>
            <a:ext cx="8961437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 dirty="0" smtClean="0">
                <a:latin typeface="Calibri" pitchFamily="34" charset="0"/>
                <a:cs typeface="Calibri" panose="020F0502020204030204" pitchFamily="34" charset="0"/>
              </a:rPr>
              <a:t>Why Test?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cxnSp>
        <p:nvCxnSpPr>
          <p:cNvPr id="27" name="Straight Connector 26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>
            <a:spLocks/>
          </p:cNvSpPr>
          <p:nvPr/>
        </p:nvSpPr>
        <p:spPr>
          <a:xfrm>
            <a:off x="0" y="4225083"/>
            <a:ext cx="9144000" cy="598464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www.edureka.co/abc</a:t>
            </a: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7" name="Round Diagonal Corner Rectangle 16"/>
          <p:cNvSpPr/>
          <p:nvPr/>
        </p:nvSpPr>
        <p:spPr>
          <a:xfrm>
            <a:off x="3918301" y="1314450"/>
            <a:ext cx="5011387" cy="2743200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>
              <a:buFont typeface="Wingdings" panose="05000000000000000000" pitchFamily="2" charset="2"/>
              <a:buChar char="ü"/>
            </a:pPr>
            <a:endParaRPr lang="en-US" sz="1600" dirty="0" smtClean="0">
              <a:solidFill>
                <a:schemeClr val="tx2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chemeClr val="tx2"/>
                </a:solidFill>
              </a:rPr>
              <a:t>History </a:t>
            </a:r>
            <a:r>
              <a:rPr lang="en-US" sz="1600" dirty="0">
                <a:solidFill>
                  <a:schemeClr val="tx2"/>
                </a:solidFill>
              </a:rPr>
              <a:t>- Direct marketing with an iterative approach</a:t>
            </a:r>
          </a:p>
          <a:p>
            <a:endParaRPr lang="en-US" sz="1600" dirty="0" smtClean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tx2"/>
                </a:solidFill>
              </a:rPr>
              <a:t>Major shift in marketing enabled by digital – HIPPO vs. customers – vote with click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600" dirty="0" smtClean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tx2"/>
                </a:solidFill>
              </a:rPr>
              <a:t>Digital marketers are brought in and, at this point, nearly all big and mid-size organizations are actively doing thi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600" dirty="0" smtClean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919" y="1044013"/>
            <a:ext cx="2492519" cy="3083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042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182563" y="81240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IN" sz="2400" dirty="0"/>
              <a:t>What it takes?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cxnSp>
        <p:nvCxnSpPr>
          <p:cNvPr id="4" name="Straight Connector 3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graphicFrame>
        <p:nvGraphicFramePr>
          <p:cNvPr id="6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3806208"/>
              </p:ext>
            </p:extLst>
          </p:nvPr>
        </p:nvGraphicFramePr>
        <p:xfrm>
          <a:off x="717869" y="1237084"/>
          <a:ext cx="7581900" cy="35260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100204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182563" y="81240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 dirty="0"/>
              <a:t>Technology | The Optimization Marketplace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cxnSp>
        <p:nvCxnSpPr>
          <p:cNvPr id="4" name="Straight Connector 3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graphicFrame>
        <p:nvGraphicFramePr>
          <p:cNvPr id="5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31045153"/>
              </p:ext>
            </p:extLst>
          </p:nvPr>
        </p:nvGraphicFramePr>
        <p:xfrm>
          <a:off x="625475" y="1064826"/>
          <a:ext cx="7886700" cy="39277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074673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182563" y="81240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IN" sz="2400" dirty="0"/>
              <a:t>Important terms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cxnSp>
        <p:nvCxnSpPr>
          <p:cNvPr id="4" name="Straight Connector 3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graphicFrame>
        <p:nvGraphicFramePr>
          <p:cNvPr id="5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19636569"/>
              </p:ext>
            </p:extLst>
          </p:nvPr>
        </p:nvGraphicFramePr>
        <p:xfrm>
          <a:off x="182563" y="1147763"/>
          <a:ext cx="8862806" cy="381433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4431403"/>
                <a:gridCol w="4431403"/>
              </a:tblGrid>
              <a:tr h="358868">
                <a:tc>
                  <a:txBody>
                    <a:bodyPr/>
                    <a:lstStyle/>
                    <a:p>
                      <a:r>
                        <a:rPr lang="en-IN" sz="1100" dirty="0" smtClean="0"/>
                        <a:t>Term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100" dirty="0" smtClean="0"/>
                        <a:t>Meaning</a:t>
                      </a:r>
                      <a:endParaRPr lang="en-US" sz="1100" dirty="0"/>
                    </a:p>
                  </a:txBody>
                  <a:tcPr/>
                </a:tc>
              </a:tr>
              <a:tr h="575171">
                <a:tc>
                  <a:txBody>
                    <a:bodyPr/>
                    <a:lstStyle/>
                    <a:p>
                      <a:r>
                        <a:rPr lang="en-IN" sz="1100" dirty="0" smtClean="0"/>
                        <a:t>Call to</a:t>
                      </a:r>
                      <a:r>
                        <a:rPr lang="en-IN" sz="1100" baseline="0" dirty="0" smtClean="0"/>
                        <a:t> Action (CTA)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100" kern="1200" dirty="0" smtClean="0">
                          <a:effectLst/>
                        </a:rPr>
                        <a:t>The primary button, link or other user interface element that asks the user to take an action that leads to (or towards) a conversion. A “Buy Now” button on</a:t>
                      </a:r>
                      <a:r>
                        <a:rPr lang="en-IN" sz="1100" kern="1200" baseline="0" dirty="0" smtClean="0">
                          <a:effectLst/>
                        </a:rPr>
                        <a:t> Flipkart etc</a:t>
                      </a:r>
                      <a:r>
                        <a:rPr lang="en-IN" sz="1100" kern="1200" dirty="0" smtClean="0">
                          <a:effectLst/>
                        </a:rPr>
                        <a:t>.</a:t>
                      </a:r>
                      <a:endParaRPr lang="en-US" sz="1100" dirty="0"/>
                    </a:p>
                  </a:txBody>
                  <a:tcPr/>
                </a:tc>
              </a:tr>
              <a:tr h="737399">
                <a:tc>
                  <a:txBody>
                    <a:bodyPr/>
                    <a:lstStyle/>
                    <a:p>
                      <a:r>
                        <a:rPr lang="en-IN" sz="1100" dirty="0" smtClean="0"/>
                        <a:t>Conversion Funnel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100" kern="1200" dirty="0" smtClean="0">
                          <a:effectLst/>
                        </a:rPr>
                        <a:t>The primary pathway (or flow) of the user experience where visitors complete a conversion. On Amazon.com the funnel may be Home page &gt; search results page &gt; product page &gt; checkout.</a:t>
                      </a:r>
                      <a:endParaRPr lang="en-US" sz="1100" dirty="0"/>
                    </a:p>
                  </a:txBody>
                  <a:tcPr/>
                </a:tc>
              </a:tr>
              <a:tr h="1061855">
                <a:tc>
                  <a:txBody>
                    <a:bodyPr/>
                    <a:lstStyle/>
                    <a:p>
                      <a:pPr marL="0" marR="0" indent="0" algn="l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effectLst/>
                        </a:rPr>
                        <a:t>A/B or Split Testing</a:t>
                      </a:r>
                    </a:p>
                    <a:p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100" kern="1200" dirty="0" smtClean="0">
                          <a:effectLst/>
                        </a:rPr>
                        <a:t>The testing of one version of a page or interface element against another version of the same thing. Each element is measured by its effectiveness in comparison to the other. For example, a red button measured in effectiveness to a green button. In A/B testing only one thing is tested at a time.</a:t>
                      </a:r>
                      <a:endParaRPr lang="en-US" sz="1100" dirty="0"/>
                    </a:p>
                  </a:txBody>
                  <a:tcPr/>
                </a:tc>
              </a:tr>
              <a:tr h="1061855">
                <a:tc>
                  <a:txBody>
                    <a:bodyPr/>
                    <a:lstStyle/>
                    <a:p>
                      <a:pPr marL="0" marR="0" indent="0" algn="l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effectLst/>
                        </a:rPr>
                        <a:t>Multivariate Testing (MVT)</a:t>
                      </a:r>
                    </a:p>
                    <a:p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100" kern="1200" dirty="0" smtClean="0">
                          <a:effectLst/>
                        </a:rPr>
                        <a:t>The testing of multiple variations of many different page elements in various combinations to determine the best performing elements and combinations. For example, a multivariate landing test may test many variations of the pictures, copy, and calls to action used on the page in many combinations to find the best performer.</a:t>
                      </a:r>
                      <a:endParaRPr lang="en-US" sz="8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7132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/>
          <p:cNvSpPr txBox="1">
            <a:spLocks/>
          </p:cNvSpPr>
          <p:nvPr/>
        </p:nvSpPr>
        <p:spPr>
          <a:xfrm>
            <a:off x="182562" y="81240"/>
            <a:ext cx="8961437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IN" sz="2400" dirty="0"/>
              <a:t>Stages in Testing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cxnSp>
        <p:nvCxnSpPr>
          <p:cNvPr id="27" name="Straight Connector 26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>
            <a:spLocks/>
          </p:cNvSpPr>
          <p:nvPr/>
        </p:nvSpPr>
        <p:spPr>
          <a:xfrm>
            <a:off x="0" y="4225083"/>
            <a:ext cx="9144000" cy="598464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www.edureka.co/abc</a:t>
            </a: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pic>
        <p:nvPicPr>
          <p:cNvPr id="8" name="Picture 2" descr="Image of Conversion Optimization Maturity Model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9062" y="1042891"/>
            <a:ext cx="6359525" cy="3182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4821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182563" y="81240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IN" sz="2400" dirty="0"/>
              <a:t>Hypothesis Driven Testing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cxnSp>
        <p:nvCxnSpPr>
          <p:cNvPr id="4" name="Straight Connector 3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graphicFrame>
        <p:nvGraphicFramePr>
          <p:cNvPr id="6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53713402"/>
              </p:ext>
            </p:extLst>
          </p:nvPr>
        </p:nvGraphicFramePr>
        <p:xfrm>
          <a:off x="587829" y="1179513"/>
          <a:ext cx="8035472" cy="38794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967825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182563" y="81240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IN" sz="2400" dirty="0"/>
              <a:t>Important terms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cxnSp>
        <p:nvCxnSpPr>
          <p:cNvPr id="4" name="Straight Connector 3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0007" y="1491730"/>
            <a:ext cx="957135" cy="1004207"/>
          </a:xfrm>
          <a:prstGeom prst="rect">
            <a:avLst/>
          </a:prstGeom>
        </p:spPr>
      </p:pic>
      <p:pic>
        <p:nvPicPr>
          <p:cNvPr id="7" name="Picture 2" descr="http://blog.vessel.io/wp-content/uploads/2014/09/Product-Conversion-Funnel-2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228" y="2495937"/>
            <a:ext cx="1919747" cy="1915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10263" y="1623765"/>
            <a:ext cx="1468437" cy="614631"/>
          </a:xfrm>
          <a:prstGeom prst="rect">
            <a:avLst/>
          </a:prstGeom>
        </p:spPr>
      </p:pic>
      <p:graphicFrame>
        <p:nvGraphicFramePr>
          <p:cNvPr id="13" name="Diagram 12"/>
          <p:cNvGraphicFramePr/>
          <p:nvPr>
            <p:extLst>
              <p:ext uri="{D42A27DB-BD31-4B8C-83A1-F6EECF244321}">
                <p14:modId xmlns:p14="http://schemas.microsoft.com/office/powerpoint/2010/main" val="1624513512"/>
              </p:ext>
            </p:extLst>
          </p:nvPr>
        </p:nvGraphicFramePr>
        <p:xfrm>
          <a:off x="5196383" y="2365526"/>
          <a:ext cx="2946995" cy="20518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4" name="Rectangle 13"/>
          <p:cNvSpPr>
            <a:spLocks/>
          </p:cNvSpPr>
          <p:nvPr/>
        </p:nvSpPr>
        <p:spPr>
          <a:xfrm>
            <a:off x="0" y="4545036"/>
            <a:ext cx="9144000" cy="598464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www.edureka.co/abc</a:t>
            </a: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896752" y="1113024"/>
            <a:ext cx="16036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09538" indent="0">
              <a:buNone/>
            </a:pPr>
            <a:r>
              <a:rPr lang="en-US" kern="0" dirty="0">
                <a:solidFill>
                  <a:schemeClr val="tx2"/>
                </a:solidFill>
              </a:rPr>
              <a:t>E-commerce</a:t>
            </a:r>
          </a:p>
        </p:txBody>
      </p:sp>
      <p:sp>
        <p:nvSpPr>
          <p:cNvPr id="15" name="Rectangle 14"/>
          <p:cNvSpPr/>
          <p:nvPr/>
        </p:nvSpPr>
        <p:spPr>
          <a:xfrm>
            <a:off x="5910263" y="1121148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109538" indent="0">
              <a:buNone/>
            </a:pPr>
            <a:r>
              <a:rPr lang="en-US" kern="0" dirty="0">
                <a:solidFill>
                  <a:schemeClr val="tx2"/>
                </a:solidFill>
              </a:rPr>
              <a:t>Lead Gen</a:t>
            </a:r>
          </a:p>
          <a:p>
            <a:endParaRPr lang="en-US" kern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6914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182563" y="81240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IN" sz="2400" dirty="0"/>
              <a:t>Role of Landing Page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cxnSp>
        <p:nvCxnSpPr>
          <p:cNvPr id="4" name="Straight Connector 3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1117600" y="1179512"/>
            <a:ext cx="1811020" cy="3731739"/>
            <a:chOff x="858520" y="1544320"/>
            <a:chExt cx="2070100" cy="4107180"/>
          </a:xfrm>
        </p:grpSpPr>
        <p:sp>
          <p:nvSpPr>
            <p:cNvPr id="6" name="Rectangle 5"/>
            <p:cNvSpPr/>
            <p:nvPr/>
          </p:nvSpPr>
          <p:spPr>
            <a:xfrm>
              <a:off x="883920" y="1544320"/>
              <a:ext cx="1389380" cy="741680"/>
            </a:xfrm>
            <a:prstGeom prst="rect">
              <a:avLst/>
            </a:prstGeom>
            <a:solidFill>
              <a:srgbClr val="01B0FF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Campaign 1</a:t>
              </a:r>
            </a:p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Ad </a:t>
              </a:r>
              <a:r>
                <a:rPr lang="en-US" sz="1400" dirty="0">
                  <a:solidFill>
                    <a:schemeClr val="tx1"/>
                  </a:solidFill>
                </a:rPr>
                <a:t>Group</a:t>
              </a:r>
              <a:r>
                <a:rPr lang="en-US" sz="1400" dirty="0" smtClean="0">
                  <a:solidFill>
                    <a:schemeClr val="tx1"/>
                  </a:solidFill>
                </a:rPr>
                <a:t> 1</a:t>
              </a:r>
            </a:p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Ad Copy 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871220" y="2547620"/>
              <a:ext cx="1389380" cy="741680"/>
            </a:xfrm>
            <a:prstGeom prst="rect">
              <a:avLst/>
            </a:prstGeom>
            <a:solidFill>
              <a:srgbClr val="37C1FF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Campaign 1</a:t>
              </a:r>
            </a:p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Ad Group 2</a:t>
              </a:r>
            </a:p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Ad Copy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858520" y="3766820"/>
              <a:ext cx="1389380" cy="741680"/>
            </a:xfrm>
            <a:prstGeom prst="rect">
              <a:avLst/>
            </a:prstGeom>
            <a:solidFill>
              <a:srgbClr val="01B0FF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Campaign x</a:t>
              </a:r>
            </a:p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Ad </a:t>
              </a:r>
              <a:r>
                <a:rPr lang="en-US" sz="1400" dirty="0">
                  <a:solidFill>
                    <a:schemeClr val="tx1"/>
                  </a:solidFill>
                </a:rPr>
                <a:t>Group</a:t>
              </a:r>
              <a:r>
                <a:rPr lang="en-US" sz="1400" dirty="0" smtClean="0">
                  <a:solidFill>
                    <a:schemeClr val="tx1"/>
                  </a:solidFill>
                </a:rPr>
                <a:t> 1</a:t>
              </a:r>
            </a:p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Ad Copy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858520" y="4909820"/>
              <a:ext cx="1389380" cy="741680"/>
            </a:xfrm>
            <a:prstGeom prst="rect">
              <a:avLst/>
            </a:prstGeom>
            <a:solidFill>
              <a:srgbClr val="01B0FF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Campaign y</a:t>
              </a:r>
            </a:p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Ad </a:t>
              </a:r>
              <a:r>
                <a:rPr lang="en-US" sz="1400" dirty="0">
                  <a:solidFill>
                    <a:schemeClr val="tx1"/>
                  </a:solidFill>
                </a:rPr>
                <a:t>Group</a:t>
              </a:r>
              <a:r>
                <a:rPr lang="en-US" sz="1400" dirty="0" smtClean="0">
                  <a:solidFill>
                    <a:schemeClr val="tx1"/>
                  </a:solidFill>
                </a:rPr>
                <a:t> 1</a:t>
              </a:r>
            </a:p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Ad Copy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244600" y="3213099"/>
              <a:ext cx="274800" cy="503587"/>
            </a:xfrm>
            <a:prstGeom prst="rect">
              <a:avLst/>
            </a:prstGeom>
            <a:noFill/>
          </p:spPr>
          <p:txBody>
            <a:bodyPr vert="vert270" wrap="square" lIns="45720" rIns="45720" rtlCol="0">
              <a:spAutoFit/>
            </a:bodyPr>
            <a:lstStyle/>
            <a:p>
              <a:r>
                <a:rPr lang="en-US" sz="2000" b="1" dirty="0" smtClean="0"/>
                <a:t>…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257300" y="4343399"/>
              <a:ext cx="274800" cy="503587"/>
            </a:xfrm>
            <a:prstGeom prst="rect">
              <a:avLst/>
            </a:prstGeom>
            <a:noFill/>
          </p:spPr>
          <p:txBody>
            <a:bodyPr vert="vert270" wrap="square" lIns="45720" rIns="45720" rtlCol="0">
              <a:spAutoFit/>
            </a:bodyPr>
            <a:lstStyle/>
            <a:p>
              <a:r>
                <a:rPr lang="en-US" sz="2000" b="1" dirty="0" smtClean="0"/>
                <a:t>…</a:t>
              </a:r>
            </a:p>
          </p:txBody>
        </p:sp>
        <p:cxnSp>
          <p:nvCxnSpPr>
            <p:cNvPr id="13" name="Straight Connector 12"/>
            <p:cNvCxnSpPr>
              <a:stCxn id="6" idx="3"/>
            </p:cNvCxnSpPr>
            <p:nvPr/>
          </p:nvCxnSpPr>
          <p:spPr>
            <a:xfrm>
              <a:off x="2273300" y="1915160"/>
              <a:ext cx="642620" cy="162560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  <a:tailEnd type="triangle" w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>
              <a:stCxn id="7" idx="3"/>
            </p:cNvCxnSpPr>
            <p:nvPr/>
          </p:nvCxnSpPr>
          <p:spPr>
            <a:xfrm flipV="1">
              <a:off x="2260600" y="2524760"/>
              <a:ext cx="668020" cy="39370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  <a:tailEnd type="triangle" w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>
              <a:stCxn id="8" idx="3"/>
            </p:cNvCxnSpPr>
            <p:nvPr/>
          </p:nvCxnSpPr>
          <p:spPr>
            <a:xfrm>
              <a:off x="2247900" y="4137660"/>
              <a:ext cx="655320" cy="38100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  <a:tailEnd type="triangle" w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>
              <a:stCxn id="10" idx="3"/>
            </p:cNvCxnSpPr>
            <p:nvPr/>
          </p:nvCxnSpPr>
          <p:spPr>
            <a:xfrm flipV="1">
              <a:off x="2247900" y="4518660"/>
              <a:ext cx="655320" cy="76200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  <a:tailEnd type="triangle" w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/>
          <p:cNvGrpSpPr/>
          <p:nvPr/>
        </p:nvGrpSpPr>
        <p:grpSpPr>
          <a:xfrm>
            <a:off x="2969895" y="1721475"/>
            <a:ext cx="5427981" cy="2602230"/>
            <a:chOff x="2903220" y="2230120"/>
            <a:chExt cx="5427981" cy="2602230"/>
          </a:xfrm>
        </p:grpSpPr>
        <p:sp>
          <p:nvSpPr>
            <p:cNvPr id="18" name="Rectangle 17"/>
            <p:cNvSpPr/>
            <p:nvPr/>
          </p:nvSpPr>
          <p:spPr>
            <a:xfrm>
              <a:off x="2928620" y="2230120"/>
              <a:ext cx="1389380" cy="58928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Intent </a:t>
              </a:r>
            </a:p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Group 1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915920" y="3246120"/>
              <a:ext cx="1389380" cy="58928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Intent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Group </a:t>
              </a:r>
              <a:r>
                <a:rPr lang="en-US" sz="1400" dirty="0" smtClean="0">
                  <a:solidFill>
                    <a:schemeClr val="tx1"/>
                  </a:solidFill>
                </a:rPr>
                <a:t>2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2903220" y="4224020"/>
              <a:ext cx="1389380" cy="58928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Intent 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Group </a:t>
              </a:r>
              <a:r>
                <a:rPr lang="en-US" sz="1400" dirty="0" smtClean="0">
                  <a:solidFill>
                    <a:schemeClr val="tx1"/>
                  </a:solidFill>
                </a:rPr>
                <a:t>3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885373" y="2268220"/>
              <a:ext cx="1389380" cy="58928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LP 1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909820" y="3246120"/>
              <a:ext cx="1389380" cy="58928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LP </a:t>
              </a:r>
              <a:r>
                <a:rPr lang="en-US" sz="1400" dirty="0" smtClean="0">
                  <a:solidFill>
                    <a:schemeClr val="tx1"/>
                  </a:solidFill>
                </a:rPr>
                <a:t>2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4869498" y="4243070"/>
              <a:ext cx="1389380" cy="58928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LP3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6941821" y="2843243"/>
              <a:ext cx="1389380" cy="58928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Conversion </a:t>
              </a:r>
            </a:p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Funnel 1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6914198" y="3827338"/>
              <a:ext cx="1389380" cy="58928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Conversion Funnel 2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6" name="Straight Connector 25"/>
            <p:cNvCxnSpPr>
              <a:stCxn id="18" idx="3"/>
              <a:endCxn id="21" idx="1"/>
            </p:cNvCxnSpPr>
            <p:nvPr/>
          </p:nvCxnSpPr>
          <p:spPr>
            <a:xfrm>
              <a:off x="4318000" y="2524760"/>
              <a:ext cx="567373" cy="38100"/>
            </a:xfrm>
            <a:prstGeom prst="line">
              <a:avLst/>
            </a:prstGeom>
            <a:ln w="19050">
              <a:noFill/>
              <a:tailEnd type="triangle" w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stCxn id="19" idx="3"/>
              <a:endCxn id="22" idx="1"/>
            </p:cNvCxnSpPr>
            <p:nvPr/>
          </p:nvCxnSpPr>
          <p:spPr>
            <a:xfrm>
              <a:off x="4305300" y="3540760"/>
              <a:ext cx="604520" cy="0"/>
            </a:xfrm>
            <a:prstGeom prst="line">
              <a:avLst/>
            </a:prstGeom>
            <a:ln w="19050">
              <a:noFill/>
              <a:tailEnd type="triangle" w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>
              <a:stCxn id="20" idx="3"/>
              <a:endCxn id="23" idx="1"/>
            </p:cNvCxnSpPr>
            <p:nvPr/>
          </p:nvCxnSpPr>
          <p:spPr>
            <a:xfrm>
              <a:off x="4292600" y="4518660"/>
              <a:ext cx="576898" cy="19050"/>
            </a:xfrm>
            <a:prstGeom prst="line">
              <a:avLst/>
            </a:prstGeom>
            <a:ln w="19050">
              <a:noFill/>
              <a:tailEnd type="triangle" w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>
              <a:stCxn id="21" idx="3"/>
              <a:endCxn id="24" idx="1"/>
            </p:cNvCxnSpPr>
            <p:nvPr/>
          </p:nvCxnSpPr>
          <p:spPr>
            <a:xfrm>
              <a:off x="6274753" y="2562860"/>
              <a:ext cx="667068" cy="575023"/>
            </a:xfrm>
            <a:prstGeom prst="line">
              <a:avLst/>
            </a:prstGeom>
            <a:ln w="19050">
              <a:noFill/>
              <a:tailEnd type="triangle" w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>
              <a:stCxn id="22" idx="3"/>
              <a:endCxn id="24" idx="1"/>
            </p:cNvCxnSpPr>
            <p:nvPr/>
          </p:nvCxnSpPr>
          <p:spPr>
            <a:xfrm flipV="1">
              <a:off x="6299200" y="3137883"/>
              <a:ext cx="642621" cy="402877"/>
            </a:xfrm>
            <a:prstGeom prst="line">
              <a:avLst/>
            </a:prstGeom>
            <a:ln w="19050">
              <a:noFill/>
              <a:tailEnd type="triangle" w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>
              <a:stCxn id="23" idx="3"/>
              <a:endCxn id="25" idx="1"/>
            </p:cNvCxnSpPr>
            <p:nvPr/>
          </p:nvCxnSpPr>
          <p:spPr>
            <a:xfrm flipV="1">
              <a:off x="6258878" y="4121978"/>
              <a:ext cx="655320" cy="415732"/>
            </a:xfrm>
            <a:prstGeom prst="line">
              <a:avLst/>
            </a:prstGeom>
            <a:ln w="19050">
              <a:noFill/>
              <a:tailEnd type="triangle" w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2" name="Straight Connector 31"/>
          <p:cNvCxnSpPr/>
          <p:nvPr/>
        </p:nvCxnSpPr>
        <p:spPr>
          <a:xfrm>
            <a:off x="4318953" y="1997065"/>
            <a:ext cx="64262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tailEnd type="triangle" w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4306253" y="3013065"/>
            <a:ext cx="64262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tailEnd type="triangle" w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4293553" y="3990965"/>
            <a:ext cx="64262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tailEnd type="triangle" w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6350953" y="1997065"/>
            <a:ext cx="642620" cy="59690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tailEnd type="triangle" w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flipV="1">
            <a:off x="6338253" y="2593965"/>
            <a:ext cx="655320" cy="41910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tailEnd type="triangle" w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 flipV="1">
            <a:off x="6325553" y="3609965"/>
            <a:ext cx="655320" cy="38100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tailEnd type="triangle" w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5623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182563" y="81240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IN" sz="2400" dirty="0"/>
              <a:t>Types of Tests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cxnSp>
        <p:nvCxnSpPr>
          <p:cNvPr id="4" name="Straight Connector 3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182563" y="1179513"/>
            <a:ext cx="8862807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5288" indent="-285750">
              <a:buFont typeface="Wingdings" panose="05000000000000000000" pitchFamily="2" charset="2"/>
              <a:buChar char="Ø"/>
            </a:pPr>
            <a:r>
              <a:rPr lang="en-US" sz="1400" b="1" kern="0" dirty="0">
                <a:solidFill>
                  <a:srgbClr val="00B0F0"/>
                </a:solidFill>
                <a:latin typeface="Calibri" panose="020F0502020204030204" pitchFamily="34" charset="0"/>
              </a:rPr>
              <a:t>Concept</a:t>
            </a:r>
            <a:r>
              <a:rPr lang="en-US" sz="1400" kern="0" dirty="0">
                <a:latin typeface="Calibri" panose="020F0502020204030204" pitchFamily="34" charset="0"/>
              </a:rPr>
              <a:t> – an experiment testing two or more variations with one component change and is distributed randomly in a live </a:t>
            </a:r>
            <a:r>
              <a:rPr lang="en-US" sz="1400" kern="0" dirty="0" smtClean="0">
                <a:latin typeface="Calibri" panose="020F0502020204030204" pitchFamily="34" charset="0"/>
              </a:rPr>
              <a:t>environment</a:t>
            </a:r>
          </a:p>
          <a:p>
            <a:pPr marL="395288" indent="-285750">
              <a:buFont typeface="Wingdings" panose="05000000000000000000" pitchFamily="2" charset="2"/>
              <a:buChar char="Ø"/>
            </a:pPr>
            <a:endParaRPr lang="en-US" sz="1400" kern="0" dirty="0">
              <a:latin typeface="Calibri" panose="020F0502020204030204" pitchFamily="34" charset="0"/>
            </a:endParaRPr>
          </a:p>
          <a:p>
            <a:pPr marL="1303338" lvl="2" indent="-285750">
              <a:buFont typeface="Wingdings" panose="05000000000000000000" pitchFamily="2" charset="2"/>
              <a:buChar char="ü"/>
            </a:pPr>
            <a:r>
              <a:rPr lang="en-US" sz="1400" kern="0" dirty="0">
                <a:latin typeface="Calibri" panose="020F0502020204030204" pitchFamily="34" charset="0"/>
              </a:rPr>
              <a:t>A / B</a:t>
            </a:r>
          </a:p>
          <a:p>
            <a:pPr marL="1303338" lvl="2" indent="-285750">
              <a:buFont typeface="Wingdings" panose="05000000000000000000" pitchFamily="2" charset="2"/>
              <a:buChar char="ü"/>
            </a:pPr>
            <a:r>
              <a:rPr lang="en-US" sz="1400" kern="0" dirty="0">
                <a:latin typeface="Calibri" panose="020F0502020204030204" pitchFamily="34" charset="0"/>
              </a:rPr>
              <a:t>A / B / </a:t>
            </a:r>
            <a:r>
              <a:rPr lang="en-US" sz="1400" kern="0" dirty="0" smtClean="0">
                <a:latin typeface="Calibri" panose="020F0502020204030204" pitchFamily="34" charset="0"/>
              </a:rPr>
              <a:t>n</a:t>
            </a:r>
          </a:p>
          <a:p>
            <a:pPr marL="846138" lvl="1" indent="-285750">
              <a:buFont typeface="Wingdings" panose="05000000000000000000" pitchFamily="2" charset="2"/>
              <a:buChar char="ü"/>
            </a:pPr>
            <a:endParaRPr lang="en-US" sz="1400" kern="0" dirty="0">
              <a:latin typeface="Calibri" panose="020F0502020204030204" pitchFamily="34" charset="0"/>
            </a:endParaRPr>
          </a:p>
          <a:p>
            <a:pPr marL="395288" indent="-285750">
              <a:buFont typeface="Wingdings" panose="05000000000000000000" pitchFamily="2" charset="2"/>
              <a:buChar char="Ø"/>
            </a:pPr>
            <a:r>
              <a:rPr lang="en-US" sz="1400" b="1" kern="0" dirty="0">
                <a:solidFill>
                  <a:srgbClr val="00B0F0"/>
                </a:solidFill>
                <a:latin typeface="Calibri" panose="020F0502020204030204" pitchFamily="34" charset="0"/>
              </a:rPr>
              <a:t>MVT </a:t>
            </a:r>
            <a:r>
              <a:rPr lang="en-US" sz="1400" kern="0" dirty="0">
                <a:latin typeface="Calibri" panose="020F0502020204030204" pitchFamily="34" charset="0"/>
              </a:rPr>
              <a:t>– an experiment testing </a:t>
            </a:r>
            <a:r>
              <a:rPr lang="en-US" sz="1400" dirty="0">
                <a:latin typeface="Calibri" panose="020F0502020204030204" pitchFamily="34" charset="0"/>
              </a:rPr>
              <a:t>multiple component changes at the same time and is distributed</a:t>
            </a:r>
            <a:r>
              <a:rPr lang="en-US" sz="1400" kern="0" dirty="0">
                <a:latin typeface="Calibri" panose="020F0502020204030204" pitchFamily="34" charset="0"/>
              </a:rPr>
              <a:t> randomly in a live </a:t>
            </a:r>
            <a:r>
              <a:rPr lang="en-US" sz="1400" kern="0" dirty="0" smtClean="0">
                <a:latin typeface="Calibri" panose="020F0502020204030204" pitchFamily="34" charset="0"/>
              </a:rPr>
              <a:t>environment</a:t>
            </a:r>
          </a:p>
          <a:p>
            <a:pPr marL="341313" indent="-231775"/>
            <a:endParaRPr lang="en-US" sz="1400" kern="0" dirty="0">
              <a:latin typeface="Calibri" panose="020F0502020204030204" pitchFamily="34" charset="0"/>
            </a:endParaRPr>
          </a:p>
          <a:p>
            <a:pPr marL="846138" lvl="1" indent="-285750">
              <a:buFont typeface="Wingdings" panose="05000000000000000000" pitchFamily="2" charset="2"/>
              <a:buChar char="ü"/>
            </a:pPr>
            <a:r>
              <a:rPr lang="en-US" sz="1400" kern="0" dirty="0">
                <a:latin typeface="Calibri" panose="020F0502020204030204" pitchFamily="34" charset="0"/>
              </a:rPr>
              <a:t>Fractional Factorial (Taguchi) – Show a fraction of all possible combinations and draw conclusions</a:t>
            </a:r>
          </a:p>
          <a:p>
            <a:pPr marL="846138" lvl="1" indent="-285750">
              <a:buFont typeface="Wingdings" panose="05000000000000000000" pitchFamily="2" charset="2"/>
              <a:buChar char="ü"/>
            </a:pPr>
            <a:r>
              <a:rPr lang="en-US" sz="1400" kern="0" dirty="0">
                <a:latin typeface="Calibri" panose="020F0502020204030204" pitchFamily="34" charset="0"/>
              </a:rPr>
              <a:t>Full Factorial – Show every single combination of page elements. If you have 3 page elements with 3 options each, you would have 27 (3x3x3) combinations. If you had 4 page elements, 2 with 3 options, and 2 with 2 options you would have 36 (3x3x2x2) combinations.</a:t>
            </a:r>
          </a:p>
          <a:p>
            <a:pPr marL="846138" lvl="1" indent="-285750">
              <a:buFont typeface="Wingdings" panose="05000000000000000000" pitchFamily="2" charset="2"/>
              <a:buChar char="ü"/>
            </a:pPr>
            <a:r>
              <a:rPr lang="en-US" sz="1400" kern="0" dirty="0">
                <a:latin typeface="Calibri" panose="020F0502020204030204" pitchFamily="34" charset="0"/>
              </a:rPr>
              <a:t>Others (Optimal Design)</a:t>
            </a:r>
          </a:p>
          <a:p>
            <a:endParaRPr lang="en-US" sz="1400" dirty="0">
              <a:latin typeface="Calibri" panose="020F0502020204030204" pitchFamily="34" charset="0"/>
            </a:endParaRPr>
          </a:p>
        </p:txBody>
      </p:sp>
      <p:sp>
        <p:nvSpPr>
          <p:cNvPr id="6" name="Oval 5"/>
          <p:cNvSpPr/>
          <p:nvPr/>
        </p:nvSpPr>
        <p:spPr bwMode="auto">
          <a:xfrm>
            <a:off x="4976581" y="4048606"/>
            <a:ext cx="3042348" cy="1001941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6800" tIns="46800" rIns="46800" bIns="4680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1050" dirty="0">
                <a:latin typeface="Arial" charset="0"/>
              </a:rPr>
              <a:t>Balance – complex doesn’t mean valuable.  They are complimentary and can each be used to solve digital business </a:t>
            </a:r>
            <a:r>
              <a:rPr lang="en-US" sz="1050" dirty="0" smtClean="0">
                <a:latin typeface="Arial" charset="0"/>
              </a:rPr>
              <a:t>problems</a:t>
            </a:r>
            <a:endParaRPr lang="en-US" sz="105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18608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182563" y="81240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IN" sz="2400" dirty="0"/>
              <a:t>Approach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cxnSp>
        <p:nvCxnSpPr>
          <p:cNvPr id="4" name="Straight Connector 3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366713" y="1165226"/>
            <a:ext cx="5651501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1313" indent="-231775"/>
            <a:r>
              <a:rPr lang="en-US" kern="0" dirty="0"/>
              <a:t>Before initiating a test program</a:t>
            </a:r>
            <a:r>
              <a:rPr lang="en-US" kern="0" dirty="0" smtClean="0"/>
              <a:t>…</a:t>
            </a:r>
          </a:p>
          <a:p>
            <a:pPr marL="792163" lvl="1" indent="-231775"/>
            <a:endParaRPr lang="en-US" kern="0" dirty="0" smtClean="0"/>
          </a:p>
          <a:p>
            <a:pPr marL="846138" lvl="1" indent="-285750">
              <a:buFont typeface="Wingdings" panose="05000000000000000000" pitchFamily="2" charset="2"/>
              <a:buChar char="Ø"/>
            </a:pPr>
            <a:r>
              <a:rPr lang="en-US" sz="1400" kern="0" dirty="0" smtClean="0">
                <a:solidFill>
                  <a:srgbClr val="00B0F0"/>
                </a:solidFill>
              </a:rPr>
              <a:t>Data</a:t>
            </a:r>
            <a:r>
              <a:rPr lang="en-US" sz="1400" kern="0" dirty="0">
                <a:solidFill>
                  <a:srgbClr val="00B0F0"/>
                </a:solidFill>
              </a:rPr>
              <a:t>, data, data</a:t>
            </a:r>
          </a:p>
          <a:p>
            <a:pPr marL="1735138" lvl="3" indent="-285750">
              <a:buFont typeface="Wingdings" panose="05000000000000000000" pitchFamily="2" charset="2"/>
              <a:buChar char="ü"/>
            </a:pPr>
            <a:r>
              <a:rPr lang="en-US" sz="1400" kern="0" dirty="0"/>
              <a:t>Do not run tests based on your gut. Spend time gathering and sorting through important data.</a:t>
            </a:r>
          </a:p>
          <a:p>
            <a:pPr marL="1735138" lvl="3" indent="-285750">
              <a:buFont typeface="Wingdings" panose="05000000000000000000" pitchFamily="2" charset="2"/>
              <a:buChar char="ü"/>
            </a:pPr>
            <a:r>
              <a:rPr lang="en-US" sz="1400" kern="0" dirty="0"/>
              <a:t>Numbers don’t paint the whole picture. Gather qualitative data as well</a:t>
            </a:r>
          </a:p>
          <a:p>
            <a:pPr marL="1735138" lvl="3" indent="-285750">
              <a:buFont typeface="Wingdings" panose="05000000000000000000" pitchFamily="2" charset="2"/>
              <a:buChar char="ü"/>
            </a:pPr>
            <a:r>
              <a:rPr lang="en-US" sz="1400" kern="0" dirty="0"/>
              <a:t>Do a competitor analysis</a:t>
            </a:r>
          </a:p>
          <a:p>
            <a:pPr marL="846138" lvl="1" indent="-285750">
              <a:buFont typeface="Wingdings" panose="05000000000000000000" pitchFamily="2" charset="2"/>
              <a:buChar char="Ø"/>
            </a:pPr>
            <a:endParaRPr lang="en-US" sz="1400" kern="0" dirty="0" smtClean="0">
              <a:solidFill>
                <a:srgbClr val="00B0F0"/>
              </a:solidFill>
            </a:endParaRPr>
          </a:p>
          <a:p>
            <a:pPr marL="846138" lvl="1" indent="-285750">
              <a:buFont typeface="Wingdings" panose="05000000000000000000" pitchFamily="2" charset="2"/>
              <a:buChar char="Ø"/>
            </a:pPr>
            <a:r>
              <a:rPr lang="en-US" sz="1400" kern="0" dirty="0" smtClean="0">
                <a:solidFill>
                  <a:srgbClr val="00B0F0"/>
                </a:solidFill>
              </a:rPr>
              <a:t>Plan</a:t>
            </a:r>
            <a:endParaRPr lang="en-US" sz="1400" kern="0" dirty="0">
              <a:solidFill>
                <a:srgbClr val="00B0F0"/>
              </a:solidFill>
            </a:endParaRPr>
          </a:p>
          <a:p>
            <a:pPr marL="1735138" lvl="3" indent="-285750">
              <a:buFont typeface="Wingdings" panose="05000000000000000000" pitchFamily="2" charset="2"/>
              <a:buChar char="ü"/>
            </a:pPr>
            <a:r>
              <a:rPr lang="en-US" sz="1400" kern="0" dirty="0"/>
              <a:t>Start big or small?</a:t>
            </a:r>
          </a:p>
          <a:p>
            <a:pPr marL="1735138" lvl="3" indent="-285750">
              <a:buFont typeface="Wingdings" panose="05000000000000000000" pitchFamily="2" charset="2"/>
              <a:buChar char="ü"/>
            </a:pPr>
            <a:r>
              <a:rPr lang="en-US" sz="1400" kern="0" dirty="0" smtClean="0"/>
              <a:t>Roadmap </a:t>
            </a:r>
            <a:r>
              <a:rPr lang="en-US" sz="1400" kern="0" dirty="0"/>
              <a:t>in the spirit of continuous testing</a:t>
            </a:r>
          </a:p>
          <a:p>
            <a:pPr marL="1735138" lvl="3" indent="-285750">
              <a:buFont typeface="Wingdings" panose="05000000000000000000" pitchFamily="2" charset="2"/>
              <a:buChar char="ü"/>
            </a:pPr>
            <a:r>
              <a:rPr lang="en-US" sz="1400" kern="0" dirty="0"/>
              <a:t>Develop clear and simple test plans</a:t>
            </a:r>
          </a:p>
          <a:p>
            <a:pPr marL="1735138" lvl="3" indent="-285750">
              <a:buFont typeface="Wingdings" panose="05000000000000000000" pitchFamily="2" charset="2"/>
              <a:buChar char="ü"/>
            </a:pPr>
            <a:r>
              <a:rPr lang="en-US" sz="1400" kern="0" dirty="0"/>
              <a:t>Sequentially optimizing the funnel – waterfall </a:t>
            </a:r>
          </a:p>
          <a:p>
            <a:pPr marL="846138" lvl="1" indent="-285750">
              <a:buFont typeface="Wingdings" panose="05000000000000000000" pitchFamily="2" charset="2"/>
              <a:buChar char="Ø"/>
            </a:pPr>
            <a:endParaRPr lang="en-US" sz="1400" kern="0" dirty="0" smtClean="0">
              <a:solidFill>
                <a:srgbClr val="00B0F0"/>
              </a:solidFill>
            </a:endParaRPr>
          </a:p>
          <a:p>
            <a:pPr marL="846138" lvl="1" indent="-285750">
              <a:buFont typeface="Wingdings" panose="05000000000000000000" pitchFamily="2" charset="2"/>
              <a:buChar char="Ø"/>
            </a:pPr>
            <a:r>
              <a:rPr lang="en-US" sz="1400" kern="0" dirty="0" smtClean="0">
                <a:solidFill>
                  <a:srgbClr val="00B0F0"/>
                </a:solidFill>
              </a:rPr>
              <a:t>Execute</a:t>
            </a:r>
            <a:endParaRPr lang="en-US" sz="1400" kern="0" dirty="0">
              <a:solidFill>
                <a:srgbClr val="00B0F0"/>
              </a:solidFill>
            </a:endParaRPr>
          </a:p>
          <a:p>
            <a:pPr marL="1735138" lvl="3" indent="-285750">
              <a:buFont typeface="Wingdings" panose="05000000000000000000" pitchFamily="2" charset="2"/>
              <a:buChar char="ü"/>
            </a:pPr>
            <a:r>
              <a:rPr lang="en-US" sz="1400" kern="0" dirty="0"/>
              <a:t>Fail fast</a:t>
            </a:r>
          </a:p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9445" y="1756130"/>
            <a:ext cx="1043087" cy="104308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928" y="3101055"/>
            <a:ext cx="1255887" cy="107791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4508" y="4243739"/>
            <a:ext cx="878024" cy="878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126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 txBox="1">
            <a:spLocks/>
          </p:cNvSpPr>
          <p:nvPr/>
        </p:nvSpPr>
        <p:spPr>
          <a:xfrm>
            <a:off x="182563" y="81240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Know your instructor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cxnSp>
        <p:nvCxnSpPr>
          <p:cNvPr id="16" name="Straight Connector 15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320675" y="3254536"/>
            <a:ext cx="30385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Ashish Agrawal  </a:t>
            </a:r>
            <a:endParaRPr lang="en-US" sz="1200" b="1" dirty="0" smtClean="0"/>
          </a:p>
          <a:p>
            <a:r>
              <a:rPr lang="en-US" sz="1200" b="1" dirty="0" smtClean="0"/>
              <a:t>MBA-IIM</a:t>
            </a:r>
            <a:r>
              <a:rPr lang="en-US" sz="1200" b="1" dirty="0"/>
              <a:t>, Indore </a:t>
            </a:r>
            <a:endParaRPr lang="en-US" sz="1200" dirty="0"/>
          </a:p>
          <a:p>
            <a:r>
              <a:rPr lang="en-US" sz="1200" b="1" dirty="0" smtClean="0"/>
              <a:t>Digital </a:t>
            </a:r>
            <a:r>
              <a:rPr lang="en-US" sz="1200" b="1" dirty="0"/>
              <a:t>Marketing Manager, </a:t>
            </a:r>
            <a:r>
              <a:rPr lang="en-US" sz="1200" b="1" dirty="0" err="1"/>
              <a:t>iQuanti</a:t>
            </a:r>
            <a:r>
              <a:rPr lang="en-US" sz="1200" b="1" dirty="0"/>
              <a:t>, </a:t>
            </a:r>
            <a:r>
              <a:rPr lang="en-US" sz="1200" b="1" dirty="0" err="1"/>
              <a:t>Inc</a:t>
            </a:r>
            <a:endParaRPr lang="en-US" sz="1200" dirty="0"/>
          </a:p>
        </p:txBody>
      </p:sp>
      <p:sp>
        <p:nvSpPr>
          <p:cNvPr id="13" name="TextBox 12"/>
          <p:cNvSpPr txBox="1"/>
          <p:nvPr/>
        </p:nvSpPr>
        <p:spPr>
          <a:xfrm>
            <a:off x="3004457" y="1381016"/>
            <a:ext cx="5795159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1400" dirty="0"/>
              <a:t>He has </a:t>
            </a:r>
            <a:r>
              <a:rPr lang="en-US" sz="1400" dirty="0" smtClean="0"/>
              <a:t>8 years </a:t>
            </a:r>
            <a:r>
              <a:rPr lang="en-US" sz="1400" dirty="0"/>
              <a:t>of experience in the Information Technology and  the Digital Marketing Industry. He has worked in companies  such as Tata Consultancy Services, Syntel and </a:t>
            </a:r>
            <a:r>
              <a:rPr lang="en-US" sz="1400" dirty="0" err="1"/>
              <a:t>iQuanti</a:t>
            </a:r>
            <a:r>
              <a:rPr lang="en-US" sz="1400" dirty="0" smtClean="0"/>
              <a:t>. He </a:t>
            </a:r>
            <a:r>
              <a:rPr lang="en-US" sz="1400" dirty="0"/>
              <a:t>is  currently working as a Digital Marketing Manager and handling digital campaigns for Fortune 500 companies.</a:t>
            </a:r>
            <a:r>
              <a:rPr lang="en-US" sz="1400" dirty="0"/>
              <a:t/>
            </a:r>
            <a:br>
              <a:rPr lang="en-US" sz="1400" dirty="0"/>
            </a:br>
            <a:r>
              <a:rPr lang="en-US" sz="1400" dirty="0">
                <a:latin typeface="Calibri" panose="020F0502020204030204" pitchFamily="34" charset="0"/>
              </a:rPr>
              <a:t/>
            </a:r>
            <a:br>
              <a:rPr lang="en-US" sz="1400" dirty="0">
                <a:latin typeface="Calibri" panose="020F0502020204030204" pitchFamily="34" charset="0"/>
              </a:rPr>
            </a:br>
            <a:endParaRPr lang="en-US" sz="1400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sp>
        <p:nvSpPr>
          <p:cNvPr id="17" name="Rectangle 16"/>
          <p:cNvSpPr>
            <a:spLocks/>
          </p:cNvSpPr>
          <p:nvPr/>
        </p:nvSpPr>
        <p:spPr>
          <a:xfrm>
            <a:off x="0" y="4225083"/>
            <a:ext cx="9144000" cy="598464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www.edureka.co/abc</a:t>
            </a: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2955287" y="1390866"/>
            <a:ext cx="0" cy="2113808"/>
          </a:xfrm>
          <a:prstGeom prst="line">
            <a:avLst/>
          </a:prstGeom>
          <a:ln w="28575" cmpd="sng"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675" y="1270788"/>
            <a:ext cx="1968624" cy="196862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182563" y="81240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 dirty="0" smtClean="0">
                <a:latin typeface="Calibri" panose="020F0502020204030204" pitchFamily="34" charset="0"/>
              </a:rPr>
              <a:t>Job &amp; Career Opportunities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cxnSp>
        <p:nvCxnSpPr>
          <p:cNvPr id="4" name="Straight Connector 3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7117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182563" y="81240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 dirty="0" smtClean="0">
                <a:latin typeface="Calibri" panose="020F0502020204030204" pitchFamily="34" charset="0"/>
              </a:rPr>
              <a:t>Job &amp; Career Opportunities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cxnSp>
        <p:nvCxnSpPr>
          <p:cNvPr id="4" name="Straight Connector 3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805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/>
          <p:cNvSpPr txBox="1">
            <a:spLocks/>
          </p:cNvSpPr>
          <p:nvPr/>
        </p:nvSpPr>
        <p:spPr>
          <a:xfrm>
            <a:off x="182562" y="81240"/>
            <a:ext cx="8961437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 dirty="0" smtClean="0">
                <a:latin typeface="Calibri" pitchFamily="34" charset="0"/>
                <a:cs typeface="Calibri" panose="020F0502020204030204" pitchFamily="34" charset="0"/>
              </a:rPr>
              <a:t>What is the topic about?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cxnSp>
        <p:nvCxnSpPr>
          <p:cNvPr id="27" name="Straight Connector 26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>
            <a:spLocks/>
          </p:cNvSpPr>
          <p:nvPr/>
        </p:nvSpPr>
        <p:spPr>
          <a:xfrm>
            <a:off x="0" y="4225083"/>
            <a:ext cx="9144000" cy="598464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www.edureka.co/abc</a:t>
            </a: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85009" y="1223158"/>
            <a:ext cx="3336966" cy="27194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Calibri" panose="020F0502020204030204" pitchFamily="34" charset="0"/>
              </a:rPr>
              <a:t>Pictorial representation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17" name="Round Diagonal Corner Rectangle 16"/>
          <p:cNvSpPr/>
          <p:nvPr/>
        </p:nvSpPr>
        <p:spPr>
          <a:xfrm>
            <a:off x="3918857" y="1211284"/>
            <a:ext cx="5011387" cy="2743200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D</a:t>
            </a:r>
            <a:endParaRPr lang="en-US" sz="16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/>
          <p:cNvSpPr txBox="1">
            <a:spLocks/>
          </p:cNvSpPr>
          <p:nvPr/>
        </p:nvSpPr>
        <p:spPr>
          <a:xfrm>
            <a:off x="182562" y="81240"/>
            <a:ext cx="8961437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 dirty="0" smtClean="0">
                <a:latin typeface="Calibri" pitchFamily="34" charset="0"/>
                <a:cs typeface="Calibri" panose="020F0502020204030204" pitchFamily="34" charset="0"/>
              </a:rPr>
              <a:t>What is the topic about?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cxnSp>
        <p:nvCxnSpPr>
          <p:cNvPr id="27" name="Straight Connector 26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>
            <a:spLocks/>
          </p:cNvSpPr>
          <p:nvPr/>
        </p:nvSpPr>
        <p:spPr>
          <a:xfrm>
            <a:off x="0" y="4225083"/>
            <a:ext cx="9144000" cy="598464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www.edureka.co/abc</a:t>
            </a: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85009" y="1710789"/>
            <a:ext cx="1983178" cy="172192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Calibri" panose="020F0502020204030204" pitchFamily="34" charset="0"/>
              </a:rPr>
              <a:t>Pictorial representation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17" name="Round Diagonal Corner Rectangle 16"/>
          <p:cNvSpPr/>
          <p:nvPr/>
        </p:nvSpPr>
        <p:spPr>
          <a:xfrm>
            <a:off x="3918857" y="3289464"/>
            <a:ext cx="5011387" cy="665019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Definition</a:t>
            </a:r>
            <a:endParaRPr lang="en-US" sz="16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8271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Case Studies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631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Career &amp; Certifications 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132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182563" y="81240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 dirty="0" smtClean="0">
                <a:latin typeface="Calibri" panose="020F0502020204030204" pitchFamily="34" charset="0"/>
              </a:rPr>
              <a:t>Certifications 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cxnSp>
        <p:nvCxnSpPr>
          <p:cNvPr id="4" name="Straight Connector 3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 bwMode="black">
          <a:xfrm>
            <a:off x="283226" y="574804"/>
            <a:ext cx="8960869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1600" dirty="0" smtClean="0">
                <a:solidFill>
                  <a:schemeClr val="accent1"/>
                </a:solidFill>
                <a:latin typeface="Calibri" pitchFamily="34" charset="0"/>
                <a:cs typeface="Calibri" panose="020F0502020204030204" pitchFamily="34" charset="0"/>
              </a:rPr>
              <a:t>How </a:t>
            </a:r>
            <a:r>
              <a:rPr lang="en-US" sz="1600" dirty="0" err="1" smtClean="0">
                <a:solidFill>
                  <a:schemeClr val="accent1"/>
                </a:solidFill>
                <a:latin typeface="Calibri" pitchFamily="34" charset="0"/>
                <a:cs typeface="Calibri" panose="020F0502020204030204" pitchFamily="34" charset="0"/>
              </a:rPr>
              <a:t>Edureka</a:t>
            </a:r>
            <a:r>
              <a:rPr lang="en-US" sz="1600" dirty="0" smtClean="0">
                <a:solidFill>
                  <a:schemeClr val="accent1"/>
                </a:solidFill>
                <a:latin typeface="Calibri" pitchFamily="34" charset="0"/>
                <a:cs typeface="Calibri" panose="020F0502020204030204" pitchFamily="34" charset="0"/>
              </a:rPr>
              <a:t> course will help you scale up your career</a:t>
            </a:r>
            <a:endParaRPr lang="en-US" sz="1600" dirty="0">
              <a:solidFill>
                <a:schemeClr val="accent1"/>
              </a:solidFill>
              <a:latin typeface="Calibri" pitchFamily="34" charset="0"/>
              <a:cs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603169" y="1118354"/>
            <a:ext cx="6531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latin typeface="Calibri" panose="020F0502020204030204" pitchFamily="34" charset="0"/>
              </a:rPr>
              <a:t>Certification Name</a:t>
            </a:r>
            <a:endParaRPr lang="en-US" sz="1400" b="1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  <p:sp>
        <p:nvSpPr>
          <p:cNvPr id="8" name="Round Diagonal Corner Rectangle 7"/>
          <p:cNvSpPr/>
          <p:nvPr/>
        </p:nvSpPr>
        <p:spPr>
          <a:xfrm>
            <a:off x="283226" y="2925308"/>
            <a:ext cx="8407730" cy="2113807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Edureka's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XX cours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Introduction of cour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How will the course help. What would you gain out of i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Online Live Courses: xx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Assignments: xx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Project: xx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Lifetime Access + 24 X 7 Support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1528287" y="2034841"/>
            <a:ext cx="6080166" cy="59815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Calibri" panose="020F0502020204030204" pitchFamily="34" charset="0"/>
              </a:rPr>
              <a:t>Go to </a:t>
            </a:r>
            <a:r>
              <a:rPr lang="en-US" sz="2000" b="1" dirty="0" smtClean="0">
                <a:latin typeface="Calibri" panose="020F0502020204030204" pitchFamily="34" charset="0"/>
              </a:rPr>
              <a:t>www.edureka.co/abc_course </a:t>
            </a:r>
            <a:endParaRPr lang="en-US" sz="2000" b="1" dirty="0">
              <a:latin typeface="Calibri" panose="020F050202020403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386940" y="2632991"/>
            <a:ext cx="4227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400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Batch starts from XX October (Weekend/day Batch)</a:t>
            </a:r>
          </a:p>
        </p:txBody>
      </p:sp>
      <p:pic>
        <p:nvPicPr>
          <p:cNvPr id="11" name="Picture 10"/>
          <p:cNvPicPr preferRelativeResize="0">
            <a:picLocks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59" t="36990" r="29991" b="33407"/>
          <a:stretch/>
        </p:blipFill>
        <p:spPr bwMode="auto">
          <a:xfrm>
            <a:off x="832514" y="1164118"/>
            <a:ext cx="612648" cy="6035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39397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844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Thank You</a:t>
            </a:r>
          </a:p>
          <a:p>
            <a:endParaRPr lang="en-US" sz="32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Questions/Queries/Feedback</a:t>
            </a:r>
          </a:p>
          <a:p>
            <a:endParaRPr lang="en-US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0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 smtClean="0">
                <a:latin typeface="Calibri" panose="020F0502020204030204" pitchFamily="34" charset="0"/>
                <a:cs typeface="Calibri" panose="020F0502020204030204" pitchFamily="34" charset="0"/>
              </a:rPr>
              <a:t>Recording </a:t>
            </a:r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and presentation will be made available to you within 24 hours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18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 txBox="1">
            <a:spLocks/>
          </p:cNvSpPr>
          <p:nvPr/>
        </p:nvSpPr>
        <p:spPr>
          <a:xfrm>
            <a:off x="182563" y="81240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 dirty="0" smtClean="0">
                <a:latin typeface="Calibri" pitchFamily="34" charset="0"/>
                <a:cs typeface="Calibri" panose="020F0502020204030204" pitchFamily="34" charset="0"/>
              </a:rPr>
              <a:t>What will you learn today?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cxnSp>
        <p:nvCxnSpPr>
          <p:cNvPr id="16" name="Straight Connector 15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677864" y="668573"/>
            <a:ext cx="4143620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sz="1200" dirty="0">
              <a:latin typeface="Calibri" panose="020F0502020204030204" pitchFamily="34" charset="0"/>
            </a:endParaRPr>
          </a:p>
          <a:p>
            <a:pPr marL="171450" indent="-1714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IN" sz="1200" dirty="0">
                <a:latin typeface="Calibri" panose="020F0502020204030204" pitchFamily="34" charset="0"/>
              </a:rPr>
              <a:t>What is CRO?</a:t>
            </a:r>
          </a:p>
          <a:p>
            <a:pPr marL="171450" indent="-1714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IN" sz="1200" dirty="0">
                <a:latin typeface="Calibri" panose="020F0502020204030204" pitchFamily="34" charset="0"/>
              </a:rPr>
              <a:t>Benefits of CRO </a:t>
            </a:r>
          </a:p>
          <a:p>
            <a:pPr marL="171450" indent="-1714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IN" sz="1200" dirty="0">
                <a:latin typeface="Calibri" panose="020F0502020204030204" pitchFamily="34" charset="0"/>
              </a:rPr>
              <a:t>Why testing is important?</a:t>
            </a:r>
          </a:p>
          <a:p>
            <a:pPr lvl="1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IN" sz="1200" dirty="0">
                <a:latin typeface="Calibri" panose="020F0502020204030204" pitchFamily="34" charset="0"/>
              </a:rPr>
              <a:t>Stages of testing</a:t>
            </a:r>
          </a:p>
          <a:p>
            <a:pPr lvl="1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IN" sz="1200" dirty="0">
                <a:latin typeface="Calibri" panose="020F0502020204030204" pitchFamily="34" charset="0"/>
              </a:rPr>
              <a:t>Types of testing</a:t>
            </a:r>
          </a:p>
          <a:p>
            <a:pPr marL="171450" indent="-1714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IN" sz="1200" dirty="0">
                <a:latin typeface="Calibri" panose="020F0502020204030204" pitchFamily="34" charset="0"/>
              </a:rPr>
              <a:t>Hypothesis Development</a:t>
            </a:r>
          </a:p>
          <a:p>
            <a:pPr lvl="1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IN" sz="1200" dirty="0">
                <a:latin typeface="Calibri" panose="020F0502020204030204" pitchFamily="34" charset="0"/>
              </a:rPr>
              <a:t>Motivation</a:t>
            </a:r>
          </a:p>
          <a:p>
            <a:pPr lvl="1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IN" sz="1200" dirty="0">
                <a:latin typeface="Calibri" panose="020F0502020204030204" pitchFamily="34" charset="0"/>
              </a:rPr>
              <a:t>Relevance</a:t>
            </a:r>
          </a:p>
          <a:p>
            <a:pPr lvl="1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IN" sz="1200" dirty="0">
                <a:latin typeface="Calibri" panose="020F0502020204030204" pitchFamily="34" charset="0"/>
              </a:rPr>
              <a:t>Structure</a:t>
            </a:r>
          </a:p>
          <a:p>
            <a:pPr marL="171450" indent="-1714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IN" sz="1200" dirty="0">
                <a:latin typeface="Calibri" panose="020F0502020204030204" pitchFamily="34" charset="0"/>
              </a:rPr>
              <a:t>Analysis</a:t>
            </a:r>
          </a:p>
          <a:p>
            <a:pPr>
              <a:lnSpc>
                <a:spcPct val="200000"/>
              </a:lnSpc>
            </a:pPr>
            <a:endParaRPr lang="en-US" sz="1200" dirty="0">
              <a:latin typeface="Calibri" panose="020F0502020204030204" pitchFamily="34" charset="0"/>
            </a:endParaRPr>
          </a:p>
        </p:txBody>
      </p:sp>
      <p:sp>
        <p:nvSpPr>
          <p:cNvPr id="2" name="Oval 1"/>
          <p:cNvSpPr/>
          <p:nvPr/>
        </p:nvSpPr>
        <p:spPr>
          <a:xfrm>
            <a:off x="6400800" y="1381016"/>
            <a:ext cx="2458192" cy="245973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1480103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736" y="2350516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3041" y="2350515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3178892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oup 101"/>
          <p:cNvGrpSpPr>
            <a:grpSpLocks/>
          </p:cNvGrpSpPr>
          <p:nvPr/>
        </p:nvGrpSpPr>
        <p:grpSpPr>
          <a:xfrm>
            <a:off x="7355576" y="2234894"/>
            <a:ext cx="612648" cy="603504"/>
            <a:chOff x="2644022" y="3804641"/>
            <a:chExt cx="258802" cy="373251"/>
          </a:xfrm>
          <a:solidFill>
            <a:schemeClr val="bg1"/>
          </a:solidFill>
        </p:grpSpPr>
        <p:grpSp>
          <p:nvGrpSpPr>
            <p:cNvPr id="21" name="Group 20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23" name="Freeform 22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24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5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2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25" name="Oval 24"/>
          <p:cNvSpPr/>
          <p:nvPr/>
        </p:nvSpPr>
        <p:spPr>
          <a:xfrm>
            <a:off x="6329545" y="1300303"/>
            <a:ext cx="2612574" cy="2615184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113" y="2348296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tangle 26"/>
          <p:cNvSpPr>
            <a:spLocks/>
          </p:cNvSpPr>
          <p:nvPr/>
        </p:nvSpPr>
        <p:spPr>
          <a:xfrm>
            <a:off x="0" y="4562149"/>
            <a:ext cx="9144000" cy="598464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www.edureka.co/abc</a:t>
            </a: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8723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Subject Concepts (Agenda 1)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119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/>
          <p:cNvSpPr txBox="1">
            <a:spLocks/>
          </p:cNvSpPr>
          <p:nvPr/>
        </p:nvSpPr>
        <p:spPr>
          <a:xfrm>
            <a:off x="182562" y="81240"/>
            <a:ext cx="8961437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</a:rPr>
              <a:t>C</a:t>
            </a:r>
            <a:r>
              <a:rPr lang="en-US" sz="2400" dirty="0" smtClean="0"/>
              <a:t>onversion </a:t>
            </a:r>
            <a:r>
              <a:rPr lang="en-US" sz="2400" dirty="0">
                <a:solidFill>
                  <a:schemeClr val="tx1"/>
                </a:solidFill>
              </a:rPr>
              <a:t>R</a:t>
            </a:r>
            <a:r>
              <a:rPr lang="en-US" sz="2400" dirty="0" smtClean="0"/>
              <a:t>ate </a:t>
            </a:r>
            <a:r>
              <a:rPr lang="en-US" sz="2400" dirty="0">
                <a:solidFill>
                  <a:schemeClr val="tx1"/>
                </a:solidFill>
              </a:rPr>
              <a:t>O</a:t>
            </a:r>
            <a:r>
              <a:rPr lang="en-US" sz="2400" dirty="0" smtClean="0"/>
              <a:t>ptimization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cxnSp>
        <p:nvCxnSpPr>
          <p:cNvPr id="27" name="Straight Connector 26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>
            <a:spLocks/>
          </p:cNvSpPr>
          <p:nvPr/>
        </p:nvSpPr>
        <p:spPr>
          <a:xfrm>
            <a:off x="-3630" y="4733083"/>
            <a:ext cx="9144000" cy="598464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www.edureka.co/abc</a:t>
            </a: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84200" y="1179513"/>
            <a:ext cx="8229600" cy="1374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2000" b="1" dirty="0">
                <a:solidFill>
                  <a:srgbClr val="00B0F0"/>
                </a:solidFill>
                <a:latin typeface="Calibri" panose="020F0502020204030204" pitchFamily="34" charset="0"/>
              </a:rPr>
              <a:t>C</a:t>
            </a:r>
            <a:r>
              <a:rPr lang="en-US" sz="2000" dirty="0">
                <a:latin typeface="Calibri" panose="020F0502020204030204" pitchFamily="34" charset="0"/>
              </a:rPr>
              <a:t>onversion </a:t>
            </a:r>
            <a:r>
              <a:rPr lang="en-US" sz="2000" b="1" dirty="0">
                <a:solidFill>
                  <a:srgbClr val="00B0F0"/>
                </a:solidFill>
                <a:latin typeface="Calibri" panose="020F0502020204030204" pitchFamily="34" charset="0"/>
              </a:rPr>
              <a:t>R</a:t>
            </a:r>
            <a:r>
              <a:rPr lang="en-US" sz="2000" dirty="0">
                <a:latin typeface="Calibri" panose="020F0502020204030204" pitchFamily="34" charset="0"/>
              </a:rPr>
              <a:t>ate </a:t>
            </a:r>
            <a:r>
              <a:rPr lang="en-US" sz="2000" b="1" dirty="0">
                <a:solidFill>
                  <a:srgbClr val="00B0F0"/>
                </a:solidFill>
                <a:latin typeface="Calibri" panose="020F0502020204030204" pitchFamily="34" charset="0"/>
              </a:rPr>
              <a:t>O</a:t>
            </a:r>
            <a:r>
              <a:rPr lang="en-US" sz="2000" dirty="0">
                <a:latin typeface="Calibri" panose="020F0502020204030204" pitchFamily="34" charset="0"/>
              </a:rPr>
              <a:t>ptimization is the method of creating an experience for a website or landing page visitors with the goal of increasing the percentage of visitors that convert into customers</a:t>
            </a:r>
          </a:p>
          <a:p>
            <a:pPr marL="0" defTabSz="430213">
              <a:spcAft>
                <a:spcPts val="400"/>
              </a:spcAft>
              <a:buSzPct val="100000"/>
            </a:pPr>
            <a:endParaRPr lang="en-US" sz="2000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1342" y="2430236"/>
            <a:ext cx="6553200" cy="201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28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cxnSp>
        <p:nvCxnSpPr>
          <p:cNvPr id="27" name="Straight Connector 26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>
            <a:spLocks/>
          </p:cNvSpPr>
          <p:nvPr/>
        </p:nvSpPr>
        <p:spPr>
          <a:xfrm>
            <a:off x="-3630" y="4733083"/>
            <a:ext cx="9144000" cy="598464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www.edureka.co/abc</a:t>
            </a: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pic>
        <p:nvPicPr>
          <p:cNvPr id="6" name="Content Placeholder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850" y="1417638"/>
            <a:ext cx="7493039" cy="2977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129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cxnSp>
        <p:nvCxnSpPr>
          <p:cNvPr id="27" name="Straight Connector 26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>
            <a:spLocks/>
          </p:cNvSpPr>
          <p:nvPr/>
        </p:nvSpPr>
        <p:spPr>
          <a:xfrm>
            <a:off x="0" y="4225083"/>
            <a:ext cx="9144000" cy="598464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www.edureka.co/abc</a:t>
            </a: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700" y="1109663"/>
            <a:ext cx="6490179" cy="300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478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-3175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0" y="2230874"/>
            <a:ext cx="9436100" cy="1490225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pPr algn="ctr"/>
            <a:r>
              <a:rPr lang="en-US" sz="40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Benefits of Conversion Rate Optimization</a:t>
            </a:r>
            <a:endParaRPr lang="en-US" sz="40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373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/>
          <p:cNvSpPr txBox="1">
            <a:spLocks/>
          </p:cNvSpPr>
          <p:nvPr/>
        </p:nvSpPr>
        <p:spPr>
          <a:xfrm>
            <a:off x="182562" y="81240"/>
            <a:ext cx="8961437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 dirty="0" smtClean="0">
                <a:latin typeface="Calibri" pitchFamily="34" charset="0"/>
                <a:cs typeface="Calibri" panose="020F0502020204030204" pitchFamily="34" charset="0"/>
              </a:rPr>
              <a:t>Benefits Of CRO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cxnSp>
        <p:nvCxnSpPr>
          <p:cNvPr id="27" name="Straight Connector 26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>
            <a:spLocks/>
          </p:cNvSpPr>
          <p:nvPr/>
        </p:nvSpPr>
        <p:spPr>
          <a:xfrm>
            <a:off x="0" y="4225083"/>
            <a:ext cx="9144000" cy="598464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www.edureka.co/abc</a:t>
            </a: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7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81842061"/>
              </p:ext>
            </p:extLst>
          </p:nvPr>
        </p:nvGraphicFramePr>
        <p:xfrm>
          <a:off x="457200" y="868136"/>
          <a:ext cx="8371114" cy="39277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466618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1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3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HP Theme color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P_PPT_Standard_16x9</Template>
  <TotalTime>21396</TotalTime>
  <Words>995</Words>
  <Application>Microsoft Office PowerPoint</Application>
  <PresentationFormat>On-screen Show (16:9)</PresentationFormat>
  <Paragraphs>184</Paragraphs>
  <Slides>27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1" baseType="lpstr">
      <vt:lpstr>HP Simplified</vt:lpstr>
      <vt:lpstr>Lucida Grande</vt:lpstr>
      <vt:lpstr>Futura Bk</vt:lpstr>
      <vt:lpstr>Courier New</vt:lpstr>
      <vt:lpstr>Tahoma</vt:lpstr>
      <vt:lpstr>Calibri</vt:lpstr>
      <vt:lpstr>Futura Hv</vt:lpstr>
      <vt:lpstr>Wingdings</vt:lpstr>
      <vt:lpstr>Arial</vt:lpstr>
      <vt:lpstr>HP_PPT_Standard_16x9</vt:lpstr>
      <vt:lpstr>1_HP_PPT_Standard_16x9</vt:lpstr>
      <vt:lpstr>2_HP_PPT_Standard_16x9</vt:lpstr>
      <vt:lpstr>3_HP_PPT_Standard_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HP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A Projects &amp; Solutions Team</dc:title>
  <dc:creator>Anandaranga Krishnamurthy</dc:creator>
  <cp:lastModifiedBy>Pritish J</cp:lastModifiedBy>
  <cp:revision>787</cp:revision>
  <cp:lastPrinted>2012-04-13T15:38:33Z</cp:lastPrinted>
  <dcterms:created xsi:type="dcterms:W3CDTF">2012-05-02T14:03:12Z</dcterms:created>
  <dcterms:modified xsi:type="dcterms:W3CDTF">2015-10-02T15:14:35Z</dcterms:modified>
</cp:coreProperties>
</file>